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87" r:id="rId3"/>
    <p:sldMasterId id="2147483694" r:id="rId4"/>
    <p:sldMasterId id="2147483726" r:id="rId5"/>
    <p:sldMasterId id="2147483748" r:id="rId6"/>
    <p:sldMasterId id="2147483752" r:id="rId7"/>
  </p:sldMasterIdLst>
  <p:notesMasterIdLst>
    <p:notesMasterId r:id="rId21"/>
  </p:notesMasterIdLst>
  <p:sldIdLst>
    <p:sldId id="378" r:id="rId8"/>
    <p:sldId id="2134959104" r:id="rId9"/>
    <p:sldId id="2134959106" r:id="rId10"/>
    <p:sldId id="2134959192" r:id="rId11"/>
    <p:sldId id="2134959107" r:id="rId12"/>
    <p:sldId id="2134959108" r:id="rId13"/>
    <p:sldId id="2134959179" r:id="rId14"/>
    <p:sldId id="2134959228" r:id="rId15"/>
    <p:sldId id="2134959212" r:id="rId16"/>
    <p:sldId id="2134959213" r:id="rId17"/>
    <p:sldId id="2134959174" r:id="rId18"/>
    <p:sldId id="2134959190" r:id="rId19"/>
    <p:sldId id="2134959194" r:id="rId20"/>
  </p:sldIdLst>
  <p:sldSz cx="12192000" cy="6858000"/>
  <p:notesSz cx="6858000" cy="9144000"/>
  <p:custDataLst>
    <p:tags r:id="rId2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359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временная стратегия лечения больных ЛАГ направлена на достижение статуса низкого риска смерти по шкале стратификации риска, который подразумевает низкий ФК (I-II), хорошую толерантность к физической нагрузке (дистанция ТШХ&gt;440м), благоприятный профиль гемодинамики по данным катетеризации правых камер сердца (давление в правом предсердии &lt;8 мм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т.ст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, сердечный индекс ≥2,5 л/мин/м2), низкий уровень NT-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BNP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&lt;330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г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л) и отсутствие признаков дисфункции правого желудочк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мендации ESC/ERS 2015 используют  </a:t>
            </a:r>
            <a:r>
              <a:rPr lang="ru-RU" sz="1200" u="non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ногофакторную оценку риск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как на этапе постановки диагноза, так и на этапах оценки терапии.</a:t>
            </a:r>
            <a:r>
              <a:rPr lang="ru-RU" sz="1200" dirty="0">
                <a:solidFill>
                  <a:srgbClr val="FFFFFF"/>
                </a:solidFill>
              </a:rPr>
              <a:t> Регулярная оценка риска позволяет </a:t>
            </a:r>
            <a:r>
              <a:rPr lang="ru-RU" sz="1200" b="1" u="sng" dirty="0">
                <a:solidFill>
                  <a:srgbClr val="FFFFFF"/>
                </a:solidFill>
              </a:rPr>
              <a:t>как можно раньше</a:t>
            </a:r>
            <a:r>
              <a:rPr lang="ru-RU" sz="1200" u="sng" dirty="0">
                <a:solidFill>
                  <a:srgbClr val="FFFFFF"/>
                </a:solidFill>
              </a:rPr>
              <a:t> </a:t>
            </a:r>
            <a:r>
              <a:rPr lang="ru-RU" sz="1200" dirty="0">
                <a:solidFill>
                  <a:srgbClr val="FFFFFF"/>
                </a:solidFill>
              </a:rPr>
              <a:t>подобрать оптимальную стратегию лечения для конкретного пациента</a:t>
            </a:r>
          </a:p>
          <a:p>
            <a:pPr algn="l">
              <a:lnSpc>
                <a:spcPct val="100000"/>
              </a:lnSpc>
              <a:spcBef>
                <a:spcPts val="100"/>
              </a:spcBef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100"/>
              </a:spcBef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1C21DD62-9255-48E8-B4DB-820588B6EB2E}" type="slidenum">
              <a:rPr/>
              <a:pPr algn="l" rtl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24858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/>
                </a:solidFill>
              </a:rPr>
              <a:t>ЛАГ является прогрессирующим заболеванием, поэтому важно регулярно оценивать пациентов с ЛАГ с целью оптимизации и  своевременного усиления терапии в соответствии с клиническими показаниям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</a:t>
            </a:r>
            <a:r>
              <a:rPr lang="ru-RU" dirty="0" err="1"/>
              <a:t>рекомедациях</a:t>
            </a:r>
            <a:r>
              <a:rPr lang="ru-RU" dirty="0"/>
              <a:t> Европейского общества кардиологов представлена частота, с которой нужно проводить те или иные исследования для корректной и своевременной оценки риска у всех пациентов с ЛАГ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Частая (3–6 месяцев) многофакторная </a:t>
            </a:r>
            <a:r>
              <a:rPr lang="ru-RU" sz="1200" b="1" dirty="0"/>
              <a:t>стратификация риска</a:t>
            </a:r>
            <a:r>
              <a:rPr lang="ru-RU" sz="1200" dirty="0"/>
              <a:t> играет ключевую роль в </a:t>
            </a:r>
            <a:r>
              <a:rPr lang="ru-RU" sz="1200" b="1" dirty="0"/>
              <a:t>стратегии лечения </a:t>
            </a:r>
            <a:r>
              <a:rPr lang="ru-RU" sz="1200" dirty="0"/>
              <a:t>для поддержки низкого уровня риска у пациентов и немедленного </a:t>
            </a:r>
            <a:r>
              <a:rPr lang="ru-RU" sz="1200" b="1" dirty="0"/>
              <a:t>перехода к двойной или тройной терапии</a:t>
            </a:r>
            <a:r>
              <a:rPr lang="ru-RU" sz="1200" dirty="0"/>
              <a:t>, если низкий уровень риска не достигнут</a:t>
            </a:r>
            <a:endParaRPr lang="ru-RU" sz="1200" baseline="30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21DD62-9255-48E8-B4DB-820588B6EB2E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4450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бинированная терапия - одновременное использование двух и более классов препаратов, воздействующих на разные сигнальные пути. В настоящее время для лечения ЛАГ чаще используют последовательную комбинированную терапию (добавление 2го, а затем 3го препарата к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нотерапии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 недостаточном клиническом эффекте или ухудшении состояния).</a:t>
            </a:r>
          </a:p>
          <a:p>
            <a:pPr>
              <a:spcBef>
                <a:spcPts val="1200"/>
              </a:spcBef>
            </a:pPr>
            <a:r>
              <a:rPr lang="ru-RU" dirty="0"/>
              <a:t>Использование двойной и тройной комбинированной терапии поддерживается надежными доказательствами и рекомендуется почти у всех пациентов. Исходная комбинированная терапия АРЭ и ИФДЭ-5 является методом выбора для пациентов, ранее не получавших лечения.</a:t>
            </a:r>
            <a:r>
              <a:rPr lang="ru-RU" sz="1200" u="sng" dirty="0">
                <a:solidFill>
                  <a:prstClr val="black"/>
                </a:solidFill>
              </a:rPr>
              <a:t> Использование </a:t>
            </a:r>
            <a:r>
              <a:rPr lang="ru-RU" sz="1200" u="sng" dirty="0" err="1">
                <a:solidFill>
                  <a:prstClr val="black"/>
                </a:solidFill>
              </a:rPr>
              <a:t>монотерапии</a:t>
            </a:r>
            <a:r>
              <a:rPr lang="ru-RU" sz="1200" u="sng" dirty="0">
                <a:solidFill>
                  <a:prstClr val="black"/>
                </a:solidFill>
              </a:rPr>
              <a:t> у таких больных больше не считается целесообразным</a:t>
            </a:r>
            <a:r>
              <a:rPr lang="ru-RU" sz="1200" dirty="0">
                <a:solidFill>
                  <a:prstClr val="black"/>
                </a:solidFill>
              </a:rPr>
              <a:t>, за исключением особых случаев</a:t>
            </a:r>
            <a:endParaRPr lang="ru-RU" dirty="0"/>
          </a:p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сли начальной терапии недостаточно для достижения целей терапии, рекомендуется добавить лекарственное средство, действие которого направлено на другой путь передачи сигнала и использование надежной первичной конечной точки, включающей заболеваемость и смертность.</a:t>
            </a:r>
          </a:p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ннее назначение комбинированной терапии является наиболее эффективной тактикой терапии пациентов с ЛАГ, поскольку улучшает выживаемость пациентов.</a:t>
            </a:r>
          </a:p>
          <a:p>
            <a:pPr lvl="0"/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временные руководства по терапии ЛАГ особо подчеркивают ценность терапии, направленной более чем на  один путь передачи сигнала. С учетом того, что в патогенезе ЛАГ принимают участие множественные сигнальные пути, воздействие на два и более из них является важнейшим терапевтическим подходом, а комбинация препаратов, направленных на разные пути становится новым стандартом лечения ЛАГ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/>
                </a:solidFill>
              </a:rPr>
              <a:t>Пациентам с сохраняющимся средним риском, несмотря на проводимое лечение ЛАГ, рекомендована эскалация терапии до двойной или тройной комбинированной терапии</a:t>
            </a:r>
          </a:p>
          <a:p>
            <a:pPr lvl="0"/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4761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872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877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8474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ализ регистра REVEAL показал, что клинические ухудшения были прогностическими для последующей смерт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гласно данным регистра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EAL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а момент постановки диагноза большинство пациентов имеют уже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II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ФК, более 13% -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V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ФК. При этом уровень риска смерти коррелирует с выживаемостью пациентов: выживаемость пациентов в группе низкого риска выше спустя 5 лет, чем у пациентов в группе промежуточного и высокого риска смерти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637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алогичные данные были получены в регистре COMPERA: на момент постановки диагноза более 70% пациентов находились уже в группе промежуточного риска смерти, более 17% - в группе высокого риска смерти. При этом уровень риска смерти также коррелировал с выживаемостью пациентов: выживаемость пациентов в группе низкого риска была выше спустя 5 лет, чем у пациентов в группе промежуточного и высокого риска смерти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524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стоящее время для оценки риска смерти пациентов применяется многофакторный подход. Проводя стратификацию рисков, помимо клинической оценки, необходимо проанализировать множество лабораторных и инструментальных показателей, в частности, биохимические маркеры, провести тесты с физической нагрузкой, оценить гемодинамические показатели, сделать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хокардиографические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сследования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зультаты недавних клинических испытаний показывают, что пациенты II ФК по ВОЗ, долгое время считавшиеся стабильными, на самом деле не стабильны. Поэтому многофакторная оценка риска всех пациентов с ЛАГ имеет важное значение в оценке статуса пациента и необходимости эскалации терапии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1C21DD62-9255-48E8-B4DB-820588B6EB2E}" type="slidenum">
              <a:rPr/>
              <a:pPr algn="l" rtl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70469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187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Регистр SPAHR: достижение низкого уровня риска через 1 год ассоциируется с благоприятным прогнозом независимо от исходного статуса риска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05FB26-EEDF-4279-A4C6-ABE7C924347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160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E4696C-F0DA-40C9-BE55-6370C1EB21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3086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72844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65252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11801423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0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888595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0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71911232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65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30.xml"/><Relationship Id="rId21" Type="http://schemas.openxmlformats.org/officeDocument/2006/relationships/slide" Target="../slides/slide5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ags" Target="../tags/tag67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66.xml"/><Relationship Id="rId20" Type="http://schemas.openxmlformats.org/officeDocument/2006/relationships/image" Target="../media/image18.tif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ags" Target="../tags/tag75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74.xml"/><Relationship Id="rId27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4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7.xml"/><Relationship Id="rId21" Type="http://schemas.openxmlformats.org/officeDocument/2006/relationships/slide" Target="../slides/slide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87.xml"/><Relationship Id="rId20" Type="http://schemas.openxmlformats.org/officeDocument/2006/relationships/image" Target="../media/image18.tif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ags" Target="../tags/tag86.xml"/><Relationship Id="rId10" Type="http://schemas.openxmlformats.org/officeDocument/2006/relationships/slideLayout" Target="../slideLayouts/slideLayout74.xml"/><Relationship Id="rId19" Type="http://schemas.openxmlformats.org/officeDocument/2006/relationships/slide" Target="../slides/slide9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">
                  <p:embed/>
                </p:oleObj>
              </mc:Choice>
              <mc:Fallback>
                <p:oleObj name="think-cell Slide" r:id="rId60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6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860F85-47E9-4B23-BE15-260538276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895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6003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800" b="1" i="0" kern="1200">
          <a:solidFill>
            <a:srgbClr val="D900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36">
          <p15:clr>
            <a:srgbClr val="F26B43"/>
          </p15:clr>
        </p15:guide>
        <p15:guide id="2" pos="427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1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4" r:id="rId17"/>
    <p:sldLayoutId id="2147483745" r:id="rId18"/>
    <p:sldLayoutId id="2147483746" r:id="rId19"/>
    <p:sldLayoutId id="2147483747" r:id="rId20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rId19" action="ppaction://hlinksldjump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rId21" action="ppaction://hlinksldjump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18" Type="http://schemas.openxmlformats.org/officeDocument/2006/relationships/image" Target="../media/image3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6.sv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675747" y="1774589"/>
            <a:ext cx="9299526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Новые цели ведения пациентов с ЛАГ</a:t>
            </a:r>
            <a:endParaRPr lang="ru-RU" sz="4000" b="1" i="1" dirty="0">
              <a:solidFill>
                <a:prstClr val="black"/>
              </a:solidFill>
              <a:latin typeface="Museo Sans Cyrl 100" panose="02000000000000000000" pitchFamily="2" charset="-52"/>
              <a:cs typeface="Times New Roman" panose="02020603050405020304" pitchFamily="18" charset="0"/>
            </a:endParaRPr>
          </a:p>
        </p:txBody>
      </p:sp>
      <p:pic>
        <p:nvPicPr>
          <p:cNvPr id="8" name="Picture Placeholder 11" descr="Untitled-1">
            <a:extLst>
              <a:ext uri="{FF2B5EF4-FFF2-40B4-BE49-F238E27FC236}">
                <a16:creationId xmlns:a16="http://schemas.microsoft.com/office/drawing/2014/main" id="{42C0C11A-3C1A-4069-AF7E-6EC8DE835A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7810" y="-13970"/>
            <a:ext cx="10664190" cy="6871970"/>
          </a:xfrm>
          <a:prstGeom prst="rect">
            <a:avLst/>
          </a:prstGeom>
        </p:spPr>
      </p:pic>
      <p:cxnSp>
        <p:nvCxnSpPr>
          <p:cNvPr id="9" name="Straight Connector 14">
            <a:extLst>
              <a:ext uri="{FF2B5EF4-FFF2-40B4-BE49-F238E27FC236}">
                <a16:creationId xmlns:a16="http://schemas.microsoft.com/office/drawing/2014/main" id="{6C319C23-023C-4D6F-9844-F145B4B6B090}"/>
              </a:ext>
            </a:extLst>
          </p:cNvPr>
          <p:cNvCxnSpPr/>
          <p:nvPr/>
        </p:nvCxnSpPr>
        <p:spPr>
          <a:xfrm>
            <a:off x="1242060" y="3797309"/>
            <a:ext cx="4853940" cy="0"/>
          </a:xfrm>
          <a:prstGeom prst="line">
            <a:avLst/>
          </a:prstGeom>
          <a:ln w="79375" cap="sq">
            <a:solidFill>
              <a:srgbClr val="CC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3104" y="32450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58269" y="6109217"/>
            <a:ext cx="21675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CP-248940</a:t>
            </a:r>
            <a:endParaRPr lang="ru-RU" sz="1600" dirty="0"/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0" y="6162604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>
            <a:extLst>
              <a:ext uri="{FF2B5EF4-FFF2-40B4-BE49-F238E27FC236}">
                <a16:creationId xmlns:a16="http://schemas.microsoft.com/office/drawing/2014/main" id="{E1B815C6-B914-4849-B611-FA953485B410}"/>
              </a:ext>
            </a:extLst>
          </p:cNvPr>
          <p:cNvSpPr txBox="1">
            <a:spLocks/>
          </p:cNvSpPr>
          <p:nvPr/>
        </p:nvSpPr>
        <p:spPr>
          <a:xfrm>
            <a:off x="351986" y="927796"/>
            <a:ext cx="11488028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algn="l"/>
            <a:r>
              <a:rPr lang="ru-RU" sz="2400" kern="0" dirty="0">
                <a:solidFill>
                  <a:srgbClr val="002060"/>
                </a:solidFill>
                <a:latin typeface="Arial"/>
              </a:rPr>
              <a:t>Профиль низкого риска</a:t>
            </a:r>
            <a:r>
              <a:rPr lang="en-GB" sz="2400" kern="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sz="2400" kern="0" dirty="0">
                <a:solidFill>
                  <a:srgbClr val="002060"/>
                </a:solidFill>
                <a:latin typeface="Arial"/>
              </a:rPr>
              <a:t>на исходном этапе является предиктором более благоприятных показателей отдаленных исходов</a:t>
            </a:r>
            <a:endParaRPr lang="en-GB" sz="2400" kern="0" dirty="0">
              <a:solidFill>
                <a:srgbClr val="002060"/>
              </a:solidFill>
              <a:latin typeface="Arial"/>
            </a:endParaRPr>
          </a:p>
        </p:txBody>
      </p:sp>
      <p:graphicFrame>
        <p:nvGraphicFramePr>
          <p:cNvPr id="44" name="Content Placeholder 4">
            <a:extLst>
              <a:ext uri="{FF2B5EF4-FFF2-40B4-BE49-F238E27FC236}">
                <a16:creationId xmlns:a16="http://schemas.microsoft.com/office/drawing/2014/main" id="{B81D974A-965E-42BC-A8A4-F813CDB4D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0877193"/>
              </p:ext>
            </p:extLst>
          </p:nvPr>
        </p:nvGraphicFramePr>
        <p:xfrm>
          <a:off x="6477748" y="3968813"/>
          <a:ext cx="4267089" cy="960120"/>
        </p:xfrm>
        <a:graphic>
          <a:graphicData uri="http://schemas.openxmlformats.org/drawingml/2006/table">
            <a:tbl>
              <a:tblPr firstRow="1" bandRow="1"/>
              <a:tblGrid>
                <a:gridCol w="1205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7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16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живаемость</a:t>
                      </a:r>
                      <a:endParaRPr lang="de-CH" sz="11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1000" marR="81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изкий риск</a:t>
                      </a:r>
                      <a:endParaRPr lang="de-CH" sz="11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ru-RU" sz="1100" b="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омежуточный риск</a:t>
                      </a:r>
                      <a:endParaRPr lang="de-CH" sz="11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сокий риск</a:t>
                      </a:r>
                      <a:endParaRPr lang="de-CH" sz="11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de-CH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ru-RU" sz="1100" b="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летняя</a:t>
                      </a:r>
                      <a:endParaRPr lang="de-CH" sz="1100" b="1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1000" marR="81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</a:t>
                      </a:r>
                      <a:r>
                        <a:rPr lang="en-GB" sz="140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GB" sz="14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de-CH" sz="14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de-CH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ru-RU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летняя</a:t>
                      </a:r>
                      <a:endParaRPr lang="de-CH" sz="1100" b="1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1000" marR="81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de-CH" sz="14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spcBef>
                          <a:spcPts val="0"/>
                        </a:spcBef>
                      </a:pPr>
                      <a:r>
                        <a:rPr lang="de-CH" sz="1100" b="0" u="none" strike="noStrike" kern="120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ru-RU" sz="1100" b="0" u="none" strike="noStrike" kern="120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летняя</a:t>
                      </a:r>
                      <a:endParaRPr lang="de-CH" sz="1100" b="1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1000" marR="81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de-CH" sz="14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</a:t>
                      </a:r>
                      <a:r>
                        <a:rPr lang="de-CH" sz="1400" b="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de-CH" sz="1400" b="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E10FC614-3676-4C83-8009-704F8880D666}"/>
              </a:ext>
            </a:extLst>
          </p:cNvPr>
          <p:cNvSpPr txBox="1"/>
          <p:nvPr/>
        </p:nvSpPr>
        <p:spPr>
          <a:xfrm>
            <a:off x="-809610" y="6422544"/>
            <a:ext cx="3520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2060"/>
                </a:solidFill>
                <a:cs typeface="Arial" pitchFamily="34" charset="0"/>
              </a:rPr>
              <a:t>Kylhammar D, </a:t>
            </a:r>
            <a:r>
              <a:rPr lang="en-GB" sz="1200" i="1" dirty="0">
                <a:solidFill>
                  <a:srgbClr val="002060"/>
                </a:solidFill>
                <a:cs typeface="Arial" pitchFamily="34" charset="0"/>
              </a:rPr>
              <a:t>et al. Eur Heart J </a:t>
            </a:r>
            <a:r>
              <a:rPr lang="en-GB" sz="1200" dirty="0">
                <a:solidFill>
                  <a:srgbClr val="002060"/>
                </a:solidFill>
                <a:cs typeface="Arial" pitchFamily="34" charset="0"/>
              </a:rPr>
              <a:t>2017</a:t>
            </a:r>
          </a:p>
        </p:txBody>
      </p:sp>
      <p:grpSp>
        <p:nvGrpSpPr>
          <p:cNvPr id="46" name="Group 10">
            <a:extLst>
              <a:ext uri="{FF2B5EF4-FFF2-40B4-BE49-F238E27FC236}">
                <a16:creationId xmlns:a16="http://schemas.microsoft.com/office/drawing/2014/main" id="{8C46C643-8FA4-4234-A7CA-B5430994FBF1}"/>
              </a:ext>
            </a:extLst>
          </p:cNvPr>
          <p:cNvGrpSpPr/>
          <p:nvPr/>
        </p:nvGrpSpPr>
        <p:grpSpPr>
          <a:xfrm>
            <a:off x="452367" y="2456515"/>
            <a:ext cx="5967922" cy="3217500"/>
            <a:chOff x="495436" y="2175584"/>
            <a:chExt cx="4278798" cy="2854558"/>
          </a:xfrm>
        </p:grpSpPr>
        <p:sp>
          <p:nvSpPr>
            <p:cNvPr id="47" name="TextBox 13">
              <a:extLst>
                <a:ext uri="{FF2B5EF4-FFF2-40B4-BE49-F238E27FC236}">
                  <a16:creationId xmlns:a16="http://schemas.microsoft.com/office/drawing/2014/main" id="{C0302A68-20A1-4AF5-801C-EB38C9761282}"/>
                </a:ext>
              </a:extLst>
            </p:cNvPr>
            <p:cNvSpPr txBox="1"/>
            <p:nvPr/>
          </p:nvSpPr>
          <p:spPr>
            <a:xfrm>
              <a:off x="2092924" y="4729778"/>
              <a:ext cx="753653" cy="3003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Годы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grpSp>
          <p:nvGrpSpPr>
            <p:cNvPr id="48" name="Group 17">
              <a:extLst>
                <a:ext uri="{FF2B5EF4-FFF2-40B4-BE49-F238E27FC236}">
                  <a16:creationId xmlns:a16="http://schemas.microsoft.com/office/drawing/2014/main" id="{6258E383-7C97-4570-B9A4-174C26D12D82}"/>
                </a:ext>
              </a:extLst>
            </p:cNvPr>
            <p:cNvGrpSpPr/>
            <p:nvPr/>
          </p:nvGrpSpPr>
          <p:grpSpPr>
            <a:xfrm>
              <a:off x="495436" y="2175584"/>
              <a:ext cx="4278798" cy="2591640"/>
              <a:chOff x="6527089" y="2401150"/>
              <a:chExt cx="4458016" cy="2591640"/>
            </a:xfrm>
          </p:grpSpPr>
          <p:sp>
            <p:nvSpPr>
              <p:cNvPr id="49" name="TextBox 12">
                <a:extLst>
                  <a:ext uri="{FF2B5EF4-FFF2-40B4-BE49-F238E27FC236}">
                    <a16:creationId xmlns:a16="http://schemas.microsoft.com/office/drawing/2014/main" id="{5EBF3C71-3645-4526-A4F3-AB18FA2C9A98}"/>
                  </a:ext>
                </a:extLst>
              </p:cNvPr>
              <p:cNvSpPr txBox="1"/>
              <p:nvPr/>
            </p:nvSpPr>
            <p:spPr>
              <a:xfrm rot="16200000">
                <a:off x="5584628" y="3470409"/>
                <a:ext cx="2160811" cy="2758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Выживаемость </a:t>
                </a: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0" name="TextBox 14">
                <a:extLst>
                  <a:ext uri="{FF2B5EF4-FFF2-40B4-BE49-F238E27FC236}">
                    <a16:creationId xmlns:a16="http://schemas.microsoft.com/office/drawing/2014/main" id="{A8B3EC65-5F0C-4C70-9B48-F673968A7BE2}"/>
                  </a:ext>
                </a:extLst>
              </p:cNvPr>
              <p:cNvSpPr txBox="1"/>
              <p:nvPr/>
            </p:nvSpPr>
            <p:spPr>
              <a:xfrm>
                <a:off x="6814920" y="4454871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0</a:t>
                </a:r>
              </a:p>
            </p:txBody>
          </p:sp>
          <p:sp>
            <p:nvSpPr>
              <p:cNvPr id="51" name="TextBox 15">
                <a:extLst>
                  <a:ext uri="{FF2B5EF4-FFF2-40B4-BE49-F238E27FC236}">
                    <a16:creationId xmlns:a16="http://schemas.microsoft.com/office/drawing/2014/main" id="{6139F49E-425B-4E14-84F0-2DE5B00094D8}"/>
                  </a:ext>
                </a:extLst>
              </p:cNvPr>
              <p:cNvSpPr txBox="1"/>
              <p:nvPr/>
            </p:nvSpPr>
            <p:spPr>
              <a:xfrm>
                <a:off x="6814920" y="4044128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2</a:t>
                </a:r>
              </a:p>
            </p:txBody>
          </p:sp>
          <p:sp>
            <p:nvSpPr>
              <p:cNvPr id="52" name="TextBox 16">
                <a:extLst>
                  <a:ext uri="{FF2B5EF4-FFF2-40B4-BE49-F238E27FC236}">
                    <a16:creationId xmlns:a16="http://schemas.microsoft.com/office/drawing/2014/main" id="{E31E2247-41F9-45E1-B5A3-2B4A3129C2DF}"/>
                  </a:ext>
                </a:extLst>
              </p:cNvPr>
              <p:cNvSpPr txBox="1"/>
              <p:nvPr/>
            </p:nvSpPr>
            <p:spPr>
              <a:xfrm>
                <a:off x="6814920" y="3633384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4</a:t>
                </a:r>
              </a:p>
            </p:txBody>
          </p:sp>
          <p:sp>
            <p:nvSpPr>
              <p:cNvPr id="53" name="TextBox 17">
                <a:extLst>
                  <a:ext uri="{FF2B5EF4-FFF2-40B4-BE49-F238E27FC236}">
                    <a16:creationId xmlns:a16="http://schemas.microsoft.com/office/drawing/2014/main" id="{EDC10739-85BB-4518-B1D4-0BAD9ACF42E1}"/>
                  </a:ext>
                </a:extLst>
              </p:cNvPr>
              <p:cNvSpPr txBox="1"/>
              <p:nvPr/>
            </p:nvSpPr>
            <p:spPr>
              <a:xfrm>
                <a:off x="6814920" y="3222639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6</a:t>
                </a:r>
              </a:p>
            </p:txBody>
          </p:sp>
          <p:sp>
            <p:nvSpPr>
              <p:cNvPr id="54" name="TextBox 18">
                <a:extLst>
                  <a:ext uri="{FF2B5EF4-FFF2-40B4-BE49-F238E27FC236}">
                    <a16:creationId xmlns:a16="http://schemas.microsoft.com/office/drawing/2014/main" id="{8F156492-8398-4AFF-BD78-D28080516B3B}"/>
                  </a:ext>
                </a:extLst>
              </p:cNvPr>
              <p:cNvSpPr txBox="1"/>
              <p:nvPr/>
            </p:nvSpPr>
            <p:spPr>
              <a:xfrm>
                <a:off x="6814920" y="2811894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.8</a:t>
                </a:r>
              </a:p>
            </p:txBody>
          </p:sp>
          <p:sp>
            <p:nvSpPr>
              <p:cNvPr id="55" name="TextBox 19">
                <a:extLst>
                  <a:ext uri="{FF2B5EF4-FFF2-40B4-BE49-F238E27FC236}">
                    <a16:creationId xmlns:a16="http://schemas.microsoft.com/office/drawing/2014/main" id="{813626F1-C3CC-4D81-BA37-23F5C6D9AE67}"/>
                  </a:ext>
                </a:extLst>
              </p:cNvPr>
              <p:cNvSpPr txBox="1"/>
              <p:nvPr/>
            </p:nvSpPr>
            <p:spPr>
              <a:xfrm>
                <a:off x="6814920" y="2401150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1.0</a:t>
                </a:r>
              </a:p>
            </p:txBody>
          </p:sp>
          <p:sp>
            <p:nvSpPr>
              <p:cNvPr id="56" name="TextBox 20">
                <a:extLst>
                  <a:ext uri="{FF2B5EF4-FFF2-40B4-BE49-F238E27FC236}">
                    <a16:creationId xmlns:a16="http://schemas.microsoft.com/office/drawing/2014/main" id="{20B91FEF-9187-4170-8FAA-D99E5F680CD4}"/>
                  </a:ext>
                </a:extLst>
              </p:cNvPr>
              <p:cNvSpPr txBox="1"/>
              <p:nvPr/>
            </p:nvSpPr>
            <p:spPr>
              <a:xfrm>
                <a:off x="7265291" y="4701811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57" name="TextBox 21">
                <a:extLst>
                  <a:ext uri="{FF2B5EF4-FFF2-40B4-BE49-F238E27FC236}">
                    <a16:creationId xmlns:a16="http://schemas.microsoft.com/office/drawing/2014/main" id="{06AC4DF7-B681-4949-AD8B-983F1923F37C}"/>
                  </a:ext>
                </a:extLst>
              </p:cNvPr>
              <p:cNvSpPr txBox="1"/>
              <p:nvPr/>
            </p:nvSpPr>
            <p:spPr>
              <a:xfrm>
                <a:off x="7720022" y="4707076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1</a:t>
                </a:r>
              </a:p>
            </p:txBody>
          </p:sp>
          <p:sp>
            <p:nvSpPr>
              <p:cNvPr id="58" name="TextBox 22">
                <a:extLst>
                  <a:ext uri="{FF2B5EF4-FFF2-40B4-BE49-F238E27FC236}">
                    <a16:creationId xmlns:a16="http://schemas.microsoft.com/office/drawing/2014/main" id="{BE0E02D5-D688-421C-85C4-9663A61C758C}"/>
                  </a:ext>
                </a:extLst>
              </p:cNvPr>
              <p:cNvSpPr txBox="1"/>
              <p:nvPr/>
            </p:nvSpPr>
            <p:spPr>
              <a:xfrm>
                <a:off x="8174755" y="4706267"/>
                <a:ext cx="271401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2</a:t>
                </a:r>
              </a:p>
            </p:txBody>
          </p:sp>
          <p:sp>
            <p:nvSpPr>
              <p:cNvPr id="59" name="TextBox 23">
                <a:extLst>
                  <a:ext uri="{FF2B5EF4-FFF2-40B4-BE49-F238E27FC236}">
                    <a16:creationId xmlns:a16="http://schemas.microsoft.com/office/drawing/2014/main" id="{C940DADB-3003-4A59-92BB-BC3073519675}"/>
                  </a:ext>
                </a:extLst>
              </p:cNvPr>
              <p:cNvSpPr txBox="1"/>
              <p:nvPr/>
            </p:nvSpPr>
            <p:spPr>
              <a:xfrm>
                <a:off x="8628361" y="4706101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60" name="TextBox 24">
                <a:extLst>
                  <a:ext uri="{FF2B5EF4-FFF2-40B4-BE49-F238E27FC236}">
                    <a16:creationId xmlns:a16="http://schemas.microsoft.com/office/drawing/2014/main" id="{F219EDA2-BD33-49D8-AD3E-4CE2F8CF3B18}"/>
                  </a:ext>
                </a:extLst>
              </p:cNvPr>
              <p:cNvSpPr txBox="1"/>
              <p:nvPr/>
            </p:nvSpPr>
            <p:spPr>
              <a:xfrm>
                <a:off x="9076785" y="4713077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61" name="TextBox 25">
                <a:extLst>
                  <a:ext uri="{FF2B5EF4-FFF2-40B4-BE49-F238E27FC236}">
                    <a16:creationId xmlns:a16="http://schemas.microsoft.com/office/drawing/2014/main" id="{6F1917E1-69C8-48D0-B504-8DD406CC4CA7}"/>
                  </a:ext>
                </a:extLst>
              </p:cNvPr>
              <p:cNvSpPr txBox="1"/>
              <p:nvPr/>
            </p:nvSpPr>
            <p:spPr>
              <a:xfrm>
                <a:off x="9544420" y="4719892"/>
                <a:ext cx="437312" cy="272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5</a:t>
                </a:r>
              </a:p>
            </p:txBody>
          </p:sp>
          <p:cxnSp>
            <p:nvCxnSpPr>
              <p:cNvPr id="62" name="Straight Connector 35">
                <a:extLst>
                  <a:ext uri="{FF2B5EF4-FFF2-40B4-BE49-F238E27FC236}">
                    <a16:creationId xmlns:a16="http://schemas.microsoft.com/office/drawing/2014/main" id="{449B29DC-BC72-4CEA-9F3B-AACB393C7833}"/>
                  </a:ext>
                </a:extLst>
              </p:cNvPr>
              <p:cNvCxnSpPr/>
              <p:nvPr/>
            </p:nvCxnSpPr>
            <p:spPr>
              <a:xfrm>
                <a:off x="7234265" y="2518443"/>
                <a:ext cx="0" cy="2167456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63" name="Straight Connector 36">
                <a:extLst>
                  <a:ext uri="{FF2B5EF4-FFF2-40B4-BE49-F238E27FC236}">
                    <a16:creationId xmlns:a16="http://schemas.microsoft.com/office/drawing/2014/main" id="{80D80F46-9A41-4C74-AA7B-13A8D741F6D2}"/>
                  </a:ext>
                </a:extLst>
              </p:cNvPr>
              <p:cNvCxnSpPr/>
              <p:nvPr/>
            </p:nvCxnSpPr>
            <p:spPr>
              <a:xfrm flipH="1">
                <a:off x="7230270" y="4687569"/>
                <a:ext cx="2530544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64" name="Straight Connector 37">
                <a:extLst>
                  <a:ext uri="{FF2B5EF4-FFF2-40B4-BE49-F238E27FC236}">
                    <a16:creationId xmlns:a16="http://schemas.microsoft.com/office/drawing/2014/main" id="{6A474768-1938-416E-A157-C6DD9E6A5B70}"/>
                  </a:ext>
                </a:extLst>
              </p:cNvPr>
              <p:cNvCxnSpPr/>
              <p:nvPr/>
            </p:nvCxnSpPr>
            <p:spPr>
              <a:xfrm flipH="1">
                <a:off x="7156143" y="2932570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5" name="Straight Connector 38">
                <a:extLst>
                  <a:ext uri="{FF2B5EF4-FFF2-40B4-BE49-F238E27FC236}">
                    <a16:creationId xmlns:a16="http://schemas.microsoft.com/office/drawing/2014/main" id="{128F43F6-D07C-4234-8A1A-F9A91F4B7202}"/>
                  </a:ext>
                </a:extLst>
              </p:cNvPr>
              <p:cNvCxnSpPr/>
              <p:nvPr/>
            </p:nvCxnSpPr>
            <p:spPr>
              <a:xfrm flipH="1">
                <a:off x="7156143" y="2527947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6" name="Straight Connector 39">
                <a:extLst>
                  <a:ext uri="{FF2B5EF4-FFF2-40B4-BE49-F238E27FC236}">
                    <a16:creationId xmlns:a16="http://schemas.microsoft.com/office/drawing/2014/main" id="{CD801DE9-FB78-4369-BF37-2EF163F15F6D}"/>
                  </a:ext>
                </a:extLst>
              </p:cNvPr>
              <p:cNvCxnSpPr/>
              <p:nvPr/>
            </p:nvCxnSpPr>
            <p:spPr>
              <a:xfrm flipH="1">
                <a:off x="7156143" y="3343875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7" name="Straight Connector 40">
                <a:extLst>
                  <a:ext uri="{FF2B5EF4-FFF2-40B4-BE49-F238E27FC236}">
                    <a16:creationId xmlns:a16="http://schemas.microsoft.com/office/drawing/2014/main" id="{B510C590-7AEB-46B7-B438-01305710D58A}"/>
                  </a:ext>
                </a:extLst>
              </p:cNvPr>
              <p:cNvCxnSpPr/>
              <p:nvPr/>
            </p:nvCxnSpPr>
            <p:spPr>
              <a:xfrm flipH="1">
                <a:off x="7156143" y="3755179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8" name="Straight Connector 41">
                <a:extLst>
                  <a:ext uri="{FF2B5EF4-FFF2-40B4-BE49-F238E27FC236}">
                    <a16:creationId xmlns:a16="http://schemas.microsoft.com/office/drawing/2014/main" id="{8A9D0769-615E-4B0E-A1CA-0F4C183730DB}"/>
                  </a:ext>
                </a:extLst>
              </p:cNvPr>
              <p:cNvCxnSpPr/>
              <p:nvPr/>
            </p:nvCxnSpPr>
            <p:spPr>
              <a:xfrm flipH="1">
                <a:off x="7156143" y="4166484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69" name="Straight Connector 42">
                <a:extLst>
                  <a:ext uri="{FF2B5EF4-FFF2-40B4-BE49-F238E27FC236}">
                    <a16:creationId xmlns:a16="http://schemas.microsoft.com/office/drawing/2014/main" id="{98225179-C77E-476A-9934-293DF63DAFEC}"/>
                  </a:ext>
                </a:extLst>
              </p:cNvPr>
              <p:cNvCxnSpPr/>
              <p:nvPr/>
            </p:nvCxnSpPr>
            <p:spPr>
              <a:xfrm flipH="1">
                <a:off x="7156143" y="4577789"/>
                <a:ext cx="72220" cy="11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0" name="Straight Connector 43">
                <a:extLst>
                  <a:ext uri="{FF2B5EF4-FFF2-40B4-BE49-F238E27FC236}">
                    <a16:creationId xmlns:a16="http://schemas.microsoft.com/office/drawing/2014/main" id="{DAF90320-8EC4-4A30-8064-1A400959E316}"/>
                  </a:ext>
                </a:extLst>
              </p:cNvPr>
              <p:cNvCxnSpPr/>
              <p:nvPr/>
            </p:nvCxnSpPr>
            <p:spPr>
              <a:xfrm flipV="1">
                <a:off x="9640879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1" name="Straight Connector 44">
                <a:extLst>
                  <a:ext uri="{FF2B5EF4-FFF2-40B4-BE49-F238E27FC236}">
                    <a16:creationId xmlns:a16="http://schemas.microsoft.com/office/drawing/2014/main" id="{65A7C9DA-6391-475C-B341-9645A4BDC6DC}"/>
                  </a:ext>
                </a:extLst>
              </p:cNvPr>
              <p:cNvCxnSpPr/>
              <p:nvPr/>
            </p:nvCxnSpPr>
            <p:spPr>
              <a:xfrm flipV="1">
                <a:off x="7363681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2" name="Straight Connector 45">
                <a:extLst>
                  <a:ext uri="{FF2B5EF4-FFF2-40B4-BE49-F238E27FC236}">
                    <a16:creationId xmlns:a16="http://schemas.microsoft.com/office/drawing/2014/main" id="{313E6DA1-6DAC-484C-A045-503FBB081849}"/>
                  </a:ext>
                </a:extLst>
              </p:cNvPr>
              <p:cNvCxnSpPr/>
              <p:nvPr/>
            </p:nvCxnSpPr>
            <p:spPr>
              <a:xfrm flipV="1">
                <a:off x="8276507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3" name="Straight Connector 46">
                <a:extLst>
                  <a:ext uri="{FF2B5EF4-FFF2-40B4-BE49-F238E27FC236}">
                    <a16:creationId xmlns:a16="http://schemas.microsoft.com/office/drawing/2014/main" id="{F8FB8683-F66B-4B4E-81F1-1A140391889E}"/>
                  </a:ext>
                </a:extLst>
              </p:cNvPr>
              <p:cNvCxnSpPr/>
              <p:nvPr/>
            </p:nvCxnSpPr>
            <p:spPr>
              <a:xfrm flipV="1">
                <a:off x="7818158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4" name="Straight Connector 47">
                <a:extLst>
                  <a:ext uri="{FF2B5EF4-FFF2-40B4-BE49-F238E27FC236}">
                    <a16:creationId xmlns:a16="http://schemas.microsoft.com/office/drawing/2014/main" id="{0E8EF262-8ECD-4F60-9EAD-CE795CC10C3A}"/>
                  </a:ext>
                </a:extLst>
              </p:cNvPr>
              <p:cNvCxnSpPr/>
              <p:nvPr/>
            </p:nvCxnSpPr>
            <p:spPr>
              <a:xfrm flipV="1">
                <a:off x="8730861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cxnSp>
            <p:nvCxnSpPr>
              <p:cNvPr id="75" name="Straight Connector 48">
                <a:extLst>
                  <a:ext uri="{FF2B5EF4-FFF2-40B4-BE49-F238E27FC236}">
                    <a16:creationId xmlns:a16="http://schemas.microsoft.com/office/drawing/2014/main" id="{97082F98-BEF8-4CFF-A940-38FD74FFEDCC}"/>
                  </a:ext>
                </a:extLst>
              </p:cNvPr>
              <p:cNvCxnSpPr/>
              <p:nvPr/>
            </p:nvCxnSpPr>
            <p:spPr>
              <a:xfrm flipV="1">
                <a:off x="9185630" y="4686541"/>
                <a:ext cx="0" cy="47983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  <p:sp>
            <p:nvSpPr>
              <p:cNvPr id="76" name="TextBox 52">
                <a:extLst>
                  <a:ext uri="{FF2B5EF4-FFF2-40B4-BE49-F238E27FC236}">
                    <a16:creationId xmlns:a16="http://schemas.microsoft.com/office/drawing/2014/main" id="{25848DD8-AEFA-4C7E-ACCF-09B6A3CD9043}"/>
                  </a:ext>
                </a:extLst>
              </p:cNvPr>
              <p:cNvSpPr txBox="1"/>
              <p:nvPr/>
            </p:nvSpPr>
            <p:spPr>
              <a:xfrm>
                <a:off x="7958948" y="4336646"/>
                <a:ext cx="2453700" cy="2252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p</a:t>
                </a: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 &lt; 0</a:t>
                </a: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,</a:t>
                </a: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001</a:t>
                </a:r>
              </a:p>
            </p:txBody>
          </p:sp>
          <p:sp>
            <p:nvSpPr>
              <p:cNvPr id="77" name="TextBox 60">
                <a:extLst>
                  <a:ext uri="{FF2B5EF4-FFF2-40B4-BE49-F238E27FC236}">
                    <a16:creationId xmlns:a16="http://schemas.microsoft.com/office/drawing/2014/main" id="{3F5500EB-A8DC-4917-8C91-D1905C85251A}"/>
                  </a:ext>
                </a:extLst>
              </p:cNvPr>
              <p:cNvSpPr txBox="1"/>
              <p:nvPr/>
            </p:nvSpPr>
            <p:spPr>
              <a:xfrm>
                <a:off x="9489391" y="2537599"/>
                <a:ext cx="1007184" cy="2457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низкий риск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8" name="TextBox 61">
                <a:extLst>
                  <a:ext uri="{FF2B5EF4-FFF2-40B4-BE49-F238E27FC236}">
                    <a16:creationId xmlns:a16="http://schemas.microsoft.com/office/drawing/2014/main" id="{FAF6C232-BD99-438F-9019-8E4A35E8CD7C}"/>
                  </a:ext>
                </a:extLst>
              </p:cNvPr>
              <p:cNvSpPr txBox="1"/>
              <p:nvPr/>
            </p:nvSpPr>
            <p:spPr>
              <a:xfrm>
                <a:off x="9458722" y="3656125"/>
                <a:ext cx="1193576" cy="2457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высокий риск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9" name="TextBox 62">
                <a:extLst>
                  <a:ext uri="{FF2B5EF4-FFF2-40B4-BE49-F238E27FC236}">
                    <a16:creationId xmlns:a16="http://schemas.microsoft.com/office/drawing/2014/main" id="{7A709A94-764D-4F0C-A78D-2BB71BEDCB62}"/>
                  </a:ext>
                </a:extLst>
              </p:cNvPr>
              <p:cNvSpPr txBox="1"/>
              <p:nvPr/>
            </p:nvSpPr>
            <p:spPr>
              <a:xfrm>
                <a:off x="9449246" y="3223789"/>
                <a:ext cx="1535859" cy="2457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rPr>
                  <a:t>промежуточный риск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0" name="Freeform 56">
                <a:extLst>
                  <a:ext uri="{FF2B5EF4-FFF2-40B4-BE49-F238E27FC236}">
                    <a16:creationId xmlns:a16="http://schemas.microsoft.com/office/drawing/2014/main" id="{BCF39C16-34C4-416F-AF4B-15E8FB1F6E61}"/>
                  </a:ext>
                </a:extLst>
              </p:cNvPr>
              <p:cNvSpPr/>
              <p:nvPr/>
            </p:nvSpPr>
            <p:spPr>
              <a:xfrm>
                <a:off x="7270198" y="2493710"/>
                <a:ext cx="2484340" cy="1369334"/>
              </a:xfrm>
              <a:custGeom>
                <a:avLst/>
                <a:gdLst>
                  <a:gd name="connsiteX0" fmla="*/ 0 w 3533775"/>
                  <a:gd name="connsiteY0" fmla="*/ 0 h 1909763"/>
                  <a:gd name="connsiteX1" fmla="*/ 0 w 3533775"/>
                  <a:gd name="connsiteY1" fmla="*/ 309563 h 1909763"/>
                  <a:gd name="connsiteX2" fmla="*/ 71437 w 3533775"/>
                  <a:gd name="connsiteY2" fmla="*/ 309563 h 1909763"/>
                  <a:gd name="connsiteX3" fmla="*/ 71437 w 3533775"/>
                  <a:gd name="connsiteY3" fmla="*/ 481013 h 1909763"/>
                  <a:gd name="connsiteX4" fmla="*/ 119062 w 3533775"/>
                  <a:gd name="connsiteY4" fmla="*/ 481013 h 1909763"/>
                  <a:gd name="connsiteX5" fmla="*/ 119062 w 3533775"/>
                  <a:gd name="connsiteY5" fmla="*/ 528638 h 1909763"/>
                  <a:gd name="connsiteX6" fmla="*/ 295275 w 3533775"/>
                  <a:gd name="connsiteY6" fmla="*/ 528638 h 1909763"/>
                  <a:gd name="connsiteX7" fmla="*/ 295275 w 3533775"/>
                  <a:gd name="connsiteY7" fmla="*/ 600075 h 1909763"/>
                  <a:gd name="connsiteX8" fmla="*/ 390525 w 3533775"/>
                  <a:gd name="connsiteY8" fmla="*/ 600075 h 1909763"/>
                  <a:gd name="connsiteX9" fmla="*/ 390525 w 3533775"/>
                  <a:gd name="connsiteY9" fmla="*/ 704850 h 1909763"/>
                  <a:gd name="connsiteX10" fmla="*/ 457200 w 3533775"/>
                  <a:gd name="connsiteY10" fmla="*/ 704850 h 1909763"/>
                  <a:gd name="connsiteX11" fmla="*/ 457200 w 3533775"/>
                  <a:gd name="connsiteY11" fmla="*/ 752475 h 1909763"/>
                  <a:gd name="connsiteX12" fmla="*/ 728662 w 3533775"/>
                  <a:gd name="connsiteY12" fmla="*/ 752475 h 1909763"/>
                  <a:gd name="connsiteX13" fmla="*/ 728662 w 3533775"/>
                  <a:gd name="connsiteY13" fmla="*/ 828675 h 1909763"/>
                  <a:gd name="connsiteX14" fmla="*/ 842962 w 3533775"/>
                  <a:gd name="connsiteY14" fmla="*/ 828675 h 1909763"/>
                  <a:gd name="connsiteX15" fmla="*/ 842962 w 3533775"/>
                  <a:gd name="connsiteY15" fmla="*/ 885825 h 1909763"/>
                  <a:gd name="connsiteX16" fmla="*/ 909637 w 3533775"/>
                  <a:gd name="connsiteY16" fmla="*/ 885825 h 1909763"/>
                  <a:gd name="connsiteX17" fmla="*/ 909637 w 3533775"/>
                  <a:gd name="connsiteY17" fmla="*/ 1104900 h 1909763"/>
                  <a:gd name="connsiteX18" fmla="*/ 1238250 w 3533775"/>
                  <a:gd name="connsiteY18" fmla="*/ 1104900 h 1909763"/>
                  <a:gd name="connsiteX19" fmla="*/ 1238250 w 3533775"/>
                  <a:gd name="connsiteY19" fmla="*/ 1176338 h 1909763"/>
                  <a:gd name="connsiteX20" fmla="*/ 1362075 w 3533775"/>
                  <a:gd name="connsiteY20" fmla="*/ 1176338 h 1909763"/>
                  <a:gd name="connsiteX21" fmla="*/ 1362075 w 3533775"/>
                  <a:gd name="connsiteY21" fmla="*/ 1252538 h 1909763"/>
                  <a:gd name="connsiteX22" fmla="*/ 1585912 w 3533775"/>
                  <a:gd name="connsiteY22" fmla="*/ 1252538 h 1909763"/>
                  <a:gd name="connsiteX23" fmla="*/ 1585912 w 3533775"/>
                  <a:gd name="connsiteY23" fmla="*/ 1314450 h 1909763"/>
                  <a:gd name="connsiteX24" fmla="*/ 1585912 w 3533775"/>
                  <a:gd name="connsiteY24" fmla="*/ 1328738 h 1909763"/>
                  <a:gd name="connsiteX25" fmla="*/ 1628775 w 3533775"/>
                  <a:gd name="connsiteY25" fmla="*/ 1328738 h 1909763"/>
                  <a:gd name="connsiteX26" fmla="*/ 1628775 w 3533775"/>
                  <a:gd name="connsiteY26" fmla="*/ 1452563 h 1909763"/>
                  <a:gd name="connsiteX27" fmla="*/ 2181225 w 3533775"/>
                  <a:gd name="connsiteY27" fmla="*/ 1452563 h 1909763"/>
                  <a:gd name="connsiteX28" fmla="*/ 2181225 w 3533775"/>
                  <a:gd name="connsiteY28" fmla="*/ 1557338 h 1909763"/>
                  <a:gd name="connsiteX29" fmla="*/ 2466975 w 3533775"/>
                  <a:gd name="connsiteY29" fmla="*/ 1557338 h 1909763"/>
                  <a:gd name="connsiteX30" fmla="*/ 2466975 w 3533775"/>
                  <a:gd name="connsiteY30" fmla="*/ 1909763 h 1909763"/>
                  <a:gd name="connsiteX31" fmla="*/ 3533775 w 3533775"/>
                  <a:gd name="connsiteY31" fmla="*/ 1909763 h 1909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533775" h="1909763">
                    <a:moveTo>
                      <a:pt x="0" y="0"/>
                    </a:moveTo>
                    <a:lnTo>
                      <a:pt x="0" y="309563"/>
                    </a:lnTo>
                    <a:lnTo>
                      <a:pt x="71437" y="309563"/>
                    </a:lnTo>
                    <a:lnTo>
                      <a:pt x="71437" y="481013"/>
                    </a:lnTo>
                    <a:lnTo>
                      <a:pt x="119062" y="481013"/>
                    </a:lnTo>
                    <a:lnTo>
                      <a:pt x="119062" y="528638"/>
                    </a:lnTo>
                    <a:lnTo>
                      <a:pt x="295275" y="528638"/>
                    </a:lnTo>
                    <a:lnTo>
                      <a:pt x="295275" y="600075"/>
                    </a:lnTo>
                    <a:lnTo>
                      <a:pt x="390525" y="600075"/>
                    </a:lnTo>
                    <a:lnTo>
                      <a:pt x="390525" y="704850"/>
                    </a:lnTo>
                    <a:lnTo>
                      <a:pt x="457200" y="704850"/>
                    </a:lnTo>
                    <a:lnTo>
                      <a:pt x="457200" y="752475"/>
                    </a:lnTo>
                    <a:lnTo>
                      <a:pt x="728662" y="752475"/>
                    </a:lnTo>
                    <a:lnTo>
                      <a:pt x="728662" y="828675"/>
                    </a:lnTo>
                    <a:lnTo>
                      <a:pt x="842962" y="828675"/>
                    </a:lnTo>
                    <a:lnTo>
                      <a:pt x="842962" y="885825"/>
                    </a:lnTo>
                    <a:lnTo>
                      <a:pt x="909637" y="885825"/>
                    </a:lnTo>
                    <a:lnTo>
                      <a:pt x="909637" y="1104900"/>
                    </a:lnTo>
                    <a:lnTo>
                      <a:pt x="1238250" y="1104900"/>
                    </a:lnTo>
                    <a:lnTo>
                      <a:pt x="1238250" y="1176338"/>
                    </a:lnTo>
                    <a:lnTo>
                      <a:pt x="1362075" y="1176338"/>
                    </a:lnTo>
                    <a:lnTo>
                      <a:pt x="1362075" y="1252538"/>
                    </a:lnTo>
                    <a:lnTo>
                      <a:pt x="1585912" y="1252538"/>
                    </a:lnTo>
                    <a:lnTo>
                      <a:pt x="1585912" y="1314450"/>
                    </a:lnTo>
                    <a:lnTo>
                      <a:pt x="1585912" y="1328738"/>
                    </a:lnTo>
                    <a:lnTo>
                      <a:pt x="1628775" y="1328738"/>
                    </a:lnTo>
                    <a:lnTo>
                      <a:pt x="1628775" y="1452563"/>
                    </a:lnTo>
                    <a:lnTo>
                      <a:pt x="2181225" y="1452563"/>
                    </a:lnTo>
                    <a:lnTo>
                      <a:pt x="2181225" y="1557338"/>
                    </a:lnTo>
                    <a:lnTo>
                      <a:pt x="2466975" y="1557338"/>
                    </a:lnTo>
                    <a:lnTo>
                      <a:pt x="2466975" y="1909763"/>
                    </a:lnTo>
                    <a:lnTo>
                      <a:pt x="3533775" y="1909763"/>
                    </a:lnTo>
                  </a:path>
                </a:pathLst>
              </a:custGeom>
              <a:noFill/>
              <a:ln w="22225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 57">
                <a:extLst>
                  <a:ext uri="{FF2B5EF4-FFF2-40B4-BE49-F238E27FC236}">
                    <a16:creationId xmlns:a16="http://schemas.microsoft.com/office/drawing/2014/main" id="{7434ECFA-5997-4B8F-96DF-602ADBCD6B88}"/>
                  </a:ext>
                </a:extLst>
              </p:cNvPr>
              <p:cNvSpPr/>
              <p:nvPr/>
            </p:nvSpPr>
            <p:spPr>
              <a:xfrm>
                <a:off x="7252232" y="2510446"/>
                <a:ext cx="2480400" cy="1084990"/>
              </a:xfrm>
              <a:custGeom>
                <a:avLst/>
                <a:gdLst>
                  <a:gd name="connsiteX0" fmla="*/ 0 w 3505200"/>
                  <a:gd name="connsiteY0" fmla="*/ 0 h 1538288"/>
                  <a:gd name="connsiteX1" fmla="*/ 4762 w 3505200"/>
                  <a:gd name="connsiteY1" fmla="*/ 61913 h 1538288"/>
                  <a:gd name="connsiteX2" fmla="*/ 47625 w 3505200"/>
                  <a:gd name="connsiteY2" fmla="*/ 57150 h 1538288"/>
                  <a:gd name="connsiteX3" fmla="*/ 52387 w 3505200"/>
                  <a:gd name="connsiteY3" fmla="*/ 80963 h 1538288"/>
                  <a:gd name="connsiteX4" fmla="*/ 109537 w 3505200"/>
                  <a:gd name="connsiteY4" fmla="*/ 80963 h 1538288"/>
                  <a:gd name="connsiteX5" fmla="*/ 119062 w 3505200"/>
                  <a:gd name="connsiteY5" fmla="*/ 147638 h 1538288"/>
                  <a:gd name="connsiteX6" fmla="*/ 166687 w 3505200"/>
                  <a:gd name="connsiteY6" fmla="*/ 147638 h 1538288"/>
                  <a:gd name="connsiteX7" fmla="*/ 180975 w 3505200"/>
                  <a:gd name="connsiteY7" fmla="*/ 200025 h 1538288"/>
                  <a:gd name="connsiteX8" fmla="*/ 219075 w 3505200"/>
                  <a:gd name="connsiteY8" fmla="*/ 200025 h 1538288"/>
                  <a:gd name="connsiteX9" fmla="*/ 219075 w 3505200"/>
                  <a:gd name="connsiteY9" fmla="*/ 223838 h 1538288"/>
                  <a:gd name="connsiteX10" fmla="*/ 290512 w 3505200"/>
                  <a:gd name="connsiteY10" fmla="*/ 228600 h 1538288"/>
                  <a:gd name="connsiteX11" fmla="*/ 290512 w 3505200"/>
                  <a:gd name="connsiteY11" fmla="*/ 261938 h 1538288"/>
                  <a:gd name="connsiteX12" fmla="*/ 319087 w 3505200"/>
                  <a:gd name="connsiteY12" fmla="*/ 261938 h 1538288"/>
                  <a:gd name="connsiteX13" fmla="*/ 323850 w 3505200"/>
                  <a:gd name="connsiteY13" fmla="*/ 280988 h 1538288"/>
                  <a:gd name="connsiteX14" fmla="*/ 385762 w 3505200"/>
                  <a:gd name="connsiteY14" fmla="*/ 280988 h 1538288"/>
                  <a:gd name="connsiteX15" fmla="*/ 395287 w 3505200"/>
                  <a:gd name="connsiteY15" fmla="*/ 328613 h 1538288"/>
                  <a:gd name="connsiteX16" fmla="*/ 452437 w 3505200"/>
                  <a:gd name="connsiteY16" fmla="*/ 333375 h 1538288"/>
                  <a:gd name="connsiteX17" fmla="*/ 452437 w 3505200"/>
                  <a:gd name="connsiteY17" fmla="*/ 376238 h 1538288"/>
                  <a:gd name="connsiteX18" fmla="*/ 495300 w 3505200"/>
                  <a:gd name="connsiteY18" fmla="*/ 376238 h 1538288"/>
                  <a:gd name="connsiteX19" fmla="*/ 495300 w 3505200"/>
                  <a:gd name="connsiteY19" fmla="*/ 404813 h 1538288"/>
                  <a:gd name="connsiteX20" fmla="*/ 566737 w 3505200"/>
                  <a:gd name="connsiteY20" fmla="*/ 404813 h 1538288"/>
                  <a:gd name="connsiteX21" fmla="*/ 566737 w 3505200"/>
                  <a:gd name="connsiteY21" fmla="*/ 442913 h 1538288"/>
                  <a:gd name="connsiteX22" fmla="*/ 614362 w 3505200"/>
                  <a:gd name="connsiteY22" fmla="*/ 442913 h 1538288"/>
                  <a:gd name="connsiteX23" fmla="*/ 614362 w 3505200"/>
                  <a:gd name="connsiteY23" fmla="*/ 476250 h 1538288"/>
                  <a:gd name="connsiteX24" fmla="*/ 666750 w 3505200"/>
                  <a:gd name="connsiteY24" fmla="*/ 476250 h 1538288"/>
                  <a:gd name="connsiteX25" fmla="*/ 666750 w 3505200"/>
                  <a:gd name="connsiteY25" fmla="*/ 500063 h 1538288"/>
                  <a:gd name="connsiteX26" fmla="*/ 723900 w 3505200"/>
                  <a:gd name="connsiteY26" fmla="*/ 500063 h 1538288"/>
                  <a:gd name="connsiteX27" fmla="*/ 723900 w 3505200"/>
                  <a:gd name="connsiteY27" fmla="*/ 528638 h 1538288"/>
                  <a:gd name="connsiteX28" fmla="*/ 781050 w 3505200"/>
                  <a:gd name="connsiteY28" fmla="*/ 528638 h 1538288"/>
                  <a:gd name="connsiteX29" fmla="*/ 781050 w 3505200"/>
                  <a:gd name="connsiteY29" fmla="*/ 585788 h 1538288"/>
                  <a:gd name="connsiteX30" fmla="*/ 833437 w 3505200"/>
                  <a:gd name="connsiteY30" fmla="*/ 585788 h 1538288"/>
                  <a:gd name="connsiteX31" fmla="*/ 833437 w 3505200"/>
                  <a:gd name="connsiteY31" fmla="*/ 609600 h 1538288"/>
                  <a:gd name="connsiteX32" fmla="*/ 885825 w 3505200"/>
                  <a:gd name="connsiteY32" fmla="*/ 609600 h 1538288"/>
                  <a:gd name="connsiteX33" fmla="*/ 885825 w 3505200"/>
                  <a:gd name="connsiteY33" fmla="*/ 690563 h 1538288"/>
                  <a:gd name="connsiteX34" fmla="*/ 957262 w 3505200"/>
                  <a:gd name="connsiteY34" fmla="*/ 690563 h 1538288"/>
                  <a:gd name="connsiteX35" fmla="*/ 957262 w 3505200"/>
                  <a:gd name="connsiteY35" fmla="*/ 700088 h 1538288"/>
                  <a:gd name="connsiteX36" fmla="*/ 1014412 w 3505200"/>
                  <a:gd name="connsiteY36" fmla="*/ 700088 h 1538288"/>
                  <a:gd name="connsiteX37" fmla="*/ 1014412 w 3505200"/>
                  <a:gd name="connsiteY37" fmla="*/ 723900 h 1538288"/>
                  <a:gd name="connsiteX38" fmla="*/ 1066800 w 3505200"/>
                  <a:gd name="connsiteY38" fmla="*/ 723900 h 1538288"/>
                  <a:gd name="connsiteX39" fmla="*/ 1066800 w 3505200"/>
                  <a:gd name="connsiteY39" fmla="*/ 762000 h 1538288"/>
                  <a:gd name="connsiteX40" fmla="*/ 1238250 w 3505200"/>
                  <a:gd name="connsiteY40" fmla="*/ 762000 h 1538288"/>
                  <a:gd name="connsiteX41" fmla="*/ 1238250 w 3505200"/>
                  <a:gd name="connsiteY41" fmla="*/ 795338 h 1538288"/>
                  <a:gd name="connsiteX42" fmla="*/ 1271587 w 3505200"/>
                  <a:gd name="connsiteY42" fmla="*/ 795338 h 1538288"/>
                  <a:gd name="connsiteX43" fmla="*/ 1281112 w 3505200"/>
                  <a:gd name="connsiteY43" fmla="*/ 804863 h 1538288"/>
                  <a:gd name="connsiteX44" fmla="*/ 1400175 w 3505200"/>
                  <a:gd name="connsiteY44" fmla="*/ 804863 h 1538288"/>
                  <a:gd name="connsiteX45" fmla="*/ 1400175 w 3505200"/>
                  <a:gd name="connsiteY45" fmla="*/ 828675 h 1538288"/>
                  <a:gd name="connsiteX46" fmla="*/ 1452562 w 3505200"/>
                  <a:gd name="connsiteY46" fmla="*/ 828675 h 1538288"/>
                  <a:gd name="connsiteX47" fmla="*/ 1452562 w 3505200"/>
                  <a:gd name="connsiteY47" fmla="*/ 852488 h 1538288"/>
                  <a:gd name="connsiteX48" fmla="*/ 1485900 w 3505200"/>
                  <a:gd name="connsiteY48" fmla="*/ 852488 h 1538288"/>
                  <a:gd name="connsiteX49" fmla="*/ 1485900 w 3505200"/>
                  <a:gd name="connsiteY49" fmla="*/ 862013 h 1538288"/>
                  <a:gd name="connsiteX50" fmla="*/ 1519237 w 3505200"/>
                  <a:gd name="connsiteY50" fmla="*/ 862013 h 1538288"/>
                  <a:gd name="connsiteX51" fmla="*/ 1528762 w 3505200"/>
                  <a:gd name="connsiteY51" fmla="*/ 871538 h 1538288"/>
                  <a:gd name="connsiteX52" fmla="*/ 1557337 w 3505200"/>
                  <a:gd name="connsiteY52" fmla="*/ 871538 h 1538288"/>
                  <a:gd name="connsiteX53" fmla="*/ 1566862 w 3505200"/>
                  <a:gd name="connsiteY53" fmla="*/ 881063 h 1538288"/>
                  <a:gd name="connsiteX54" fmla="*/ 1790700 w 3505200"/>
                  <a:gd name="connsiteY54" fmla="*/ 881063 h 1538288"/>
                  <a:gd name="connsiteX55" fmla="*/ 1790700 w 3505200"/>
                  <a:gd name="connsiteY55" fmla="*/ 923925 h 1538288"/>
                  <a:gd name="connsiteX56" fmla="*/ 1824037 w 3505200"/>
                  <a:gd name="connsiteY56" fmla="*/ 923925 h 1538288"/>
                  <a:gd name="connsiteX57" fmla="*/ 1838325 w 3505200"/>
                  <a:gd name="connsiteY57" fmla="*/ 938213 h 1538288"/>
                  <a:gd name="connsiteX58" fmla="*/ 1952625 w 3505200"/>
                  <a:gd name="connsiteY58" fmla="*/ 938213 h 1538288"/>
                  <a:gd name="connsiteX59" fmla="*/ 1952625 w 3505200"/>
                  <a:gd name="connsiteY59" fmla="*/ 976313 h 1538288"/>
                  <a:gd name="connsiteX60" fmla="*/ 2019300 w 3505200"/>
                  <a:gd name="connsiteY60" fmla="*/ 976313 h 1538288"/>
                  <a:gd name="connsiteX61" fmla="*/ 2019300 w 3505200"/>
                  <a:gd name="connsiteY61" fmla="*/ 995363 h 1538288"/>
                  <a:gd name="connsiteX62" fmla="*/ 2143125 w 3505200"/>
                  <a:gd name="connsiteY62" fmla="*/ 995363 h 1538288"/>
                  <a:gd name="connsiteX63" fmla="*/ 2166937 w 3505200"/>
                  <a:gd name="connsiteY63" fmla="*/ 995363 h 1538288"/>
                  <a:gd name="connsiteX64" fmla="*/ 2166937 w 3505200"/>
                  <a:gd name="connsiteY64" fmla="*/ 1028700 h 1538288"/>
                  <a:gd name="connsiteX65" fmla="*/ 2228850 w 3505200"/>
                  <a:gd name="connsiteY65" fmla="*/ 1028700 h 1538288"/>
                  <a:gd name="connsiteX66" fmla="*/ 2228850 w 3505200"/>
                  <a:gd name="connsiteY66" fmla="*/ 1066800 h 1538288"/>
                  <a:gd name="connsiteX67" fmla="*/ 2352675 w 3505200"/>
                  <a:gd name="connsiteY67" fmla="*/ 1066800 h 1538288"/>
                  <a:gd name="connsiteX68" fmla="*/ 2352675 w 3505200"/>
                  <a:gd name="connsiteY68" fmla="*/ 1109663 h 1538288"/>
                  <a:gd name="connsiteX69" fmla="*/ 2395537 w 3505200"/>
                  <a:gd name="connsiteY69" fmla="*/ 1109663 h 1538288"/>
                  <a:gd name="connsiteX70" fmla="*/ 2395537 w 3505200"/>
                  <a:gd name="connsiteY70" fmla="*/ 1147763 h 1538288"/>
                  <a:gd name="connsiteX71" fmla="*/ 2509837 w 3505200"/>
                  <a:gd name="connsiteY71" fmla="*/ 1147763 h 1538288"/>
                  <a:gd name="connsiteX72" fmla="*/ 2509837 w 3505200"/>
                  <a:gd name="connsiteY72" fmla="*/ 1190625 h 1538288"/>
                  <a:gd name="connsiteX73" fmla="*/ 2562225 w 3505200"/>
                  <a:gd name="connsiteY73" fmla="*/ 1190625 h 1538288"/>
                  <a:gd name="connsiteX74" fmla="*/ 2562225 w 3505200"/>
                  <a:gd name="connsiteY74" fmla="*/ 1243013 h 1538288"/>
                  <a:gd name="connsiteX75" fmla="*/ 2790825 w 3505200"/>
                  <a:gd name="connsiteY75" fmla="*/ 1243013 h 1538288"/>
                  <a:gd name="connsiteX76" fmla="*/ 2790825 w 3505200"/>
                  <a:gd name="connsiteY76" fmla="*/ 1266825 h 1538288"/>
                  <a:gd name="connsiteX77" fmla="*/ 2838450 w 3505200"/>
                  <a:gd name="connsiteY77" fmla="*/ 1266825 h 1538288"/>
                  <a:gd name="connsiteX78" fmla="*/ 2852737 w 3505200"/>
                  <a:gd name="connsiteY78" fmla="*/ 1281112 h 1538288"/>
                  <a:gd name="connsiteX79" fmla="*/ 2895600 w 3505200"/>
                  <a:gd name="connsiteY79" fmla="*/ 1281112 h 1538288"/>
                  <a:gd name="connsiteX80" fmla="*/ 2914650 w 3505200"/>
                  <a:gd name="connsiteY80" fmla="*/ 1300162 h 1538288"/>
                  <a:gd name="connsiteX81" fmla="*/ 3019425 w 3505200"/>
                  <a:gd name="connsiteY81" fmla="*/ 1300162 h 1538288"/>
                  <a:gd name="connsiteX82" fmla="*/ 3019425 w 3505200"/>
                  <a:gd name="connsiteY82" fmla="*/ 1333500 h 1538288"/>
                  <a:gd name="connsiteX83" fmla="*/ 3128962 w 3505200"/>
                  <a:gd name="connsiteY83" fmla="*/ 1333500 h 1538288"/>
                  <a:gd name="connsiteX84" fmla="*/ 3128962 w 3505200"/>
                  <a:gd name="connsiteY84" fmla="*/ 1357313 h 1538288"/>
                  <a:gd name="connsiteX85" fmla="*/ 3238500 w 3505200"/>
                  <a:gd name="connsiteY85" fmla="*/ 1357313 h 1538288"/>
                  <a:gd name="connsiteX86" fmla="*/ 3238500 w 3505200"/>
                  <a:gd name="connsiteY86" fmla="*/ 1414463 h 1538288"/>
                  <a:gd name="connsiteX87" fmla="*/ 3390900 w 3505200"/>
                  <a:gd name="connsiteY87" fmla="*/ 1414463 h 1538288"/>
                  <a:gd name="connsiteX88" fmla="*/ 3405187 w 3505200"/>
                  <a:gd name="connsiteY88" fmla="*/ 1428750 h 1538288"/>
                  <a:gd name="connsiteX89" fmla="*/ 3462337 w 3505200"/>
                  <a:gd name="connsiteY89" fmla="*/ 1428750 h 1538288"/>
                  <a:gd name="connsiteX90" fmla="*/ 3462337 w 3505200"/>
                  <a:gd name="connsiteY90" fmla="*/ 1500188 h 1538288"/>
                  <a:gd name="connsiteX91" fmla="*/ 3481387 w 3505200"/>
                  <a:gd name="connsiteY91" fmla="*/ 1500188 h 1538288"/>
                  <a:gd name="connsiteX92" fmla="*/ 3505200 w 3505200"/>
                  <a:gd name="connsiteY92" fmla="*/ 1500188 h 1538288"/>
                  <a:gd name="connsiteX93" fmla="*/ 3505200 w 3505200"/>
                  <a:gd name="connsiteY93" fmla="*/ 1538288 h 1538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3505200" h="1538288">
                    <a:moveTo>
                      <a:pt x="0" y="0"/>
                    </a:moveTo>
                    <a:lnTo>
                      <a:pt x="4762" y="61913"/>
                    </a:lnTo>
                    <a:lnTo>
                      <a:pt x="47625" y="57150"/>
                    </a:lnTo>
                    <a:lnTo>
                      <a:pt x="52387" y="80963"/>
                    </a:lnTo>
                    <a:lnTo>
                      <a:pt x="109537" y="80963"/>
                    </a:lnTo>
                    <a:lnTo>
                      <a:pt x="119062" y="147638"/>
                    </a:lnTo>
                    <a:lnTo>
                      <a:pt x="166687" y="147638"/>
                    </a:lnTo>
                    <a:lnTo>
                      <a:pt x="180975" y="200025"/>
                    </a:lnTo>
                    <a:lnTo>
                      <a:pt x="219075" y="200025"/>
                    </a:lnTo>
                    <a:lnTo>
                      <a:pt x="219075" y="223838"/>
                    </a:lnTo>
                    <a:lnTo>
                      <a:pt x="290512" y="228600"/>
                    </a:lnTo>
                    <a:lnTo>
                      <a:pt x="290512" y="261938"/>
                    </a:lnTo>
                    <a:lnTo>
                      <a:pt x="319087" y="261938"/>
                    </a:lnTo>
                    <a:lnTo>
                      <a:pt x="323850" y="280988"/>
                    </a:lnTo>
                    <a:lnTo>
                      <a:pt x="385762" y="280988"/>
                    </a:lnTo>
                    <a:lnTo>
                      <a:pt x="395287" y="328613"/>
                    </a:lnTo>
                    <a:lnTo>
                      <a:pt x="452437" y="333375"/>
                    </a:lnTo>
                    <a:lnTo>
                      <a:pt x="452437" y="376238"/>
                    </a:lnTo>
                    <a:lnTo>
                      <a:pt x="495300" y="376238"/>
                    </a:lnTo>
                    <a:lnTo>
                      <a:pt x="495300" y="404813"/>
                    </a:lnTo>
                    <a:lnTo>
                      <a:pt x="566737" y="404813"/>
                    </a:lnTo>
                    <a:lnTo>
                      <a:pt x="566737" y="442913"/>
                    </a:lnTo>
                    <a:lnTo>
                      <a:pt x="614362" y="442913"/>
                    </a:lnTo>
                    <a:lnTo>
                      <a:pt x="614362" y="476250"/>
                    </a:lnTo>
                    <a:lnTo>
                      <a:pt x="666750" y="476250"/>
                    </a:lnTo>
                    <a:lnTo>
                      <a:pt x="666750" y="500063"/>
                    </a:lnTo>
                    <a:lnTo>
                      <a:pt x="723900" y="500063"/>
                    </a:lnTo>
                    <a:lnTo>
                      <a:pt x="723900" y="528638"/>
                    </a:lnTo>
                    <a:lnTo>
                      <a:pt x="781050" y="528638"/>
                    </a:lnTo>
                    <a:lnTo>
                      <a:pt x="781050" y="585788"/>
                    </a:lnTo>
                    <a:lnTo>
                      <a:pt x="833437" y="585788"/>
                    </a:lnTo>
                    <a:lnTo>
                      <a:pt x="833437" y="609600"/>
                    </a:lnTo>
                    <a:lnTo>
                      <a:pt x="885825" y="609600"/>
                    </a:lnTo>
                    <a:lnTo>
                      <a:pt x="885825" y="690563"/>
                    </a:lnTo>
                    <a:lnTo>
                      <a:pt x="957262" y="690563"/>
                    </a:lnTo>
                    <a:lnTo>
                      <a:pt x="957262" y="700088"/>
                    </a:lnTo>
                    <a:lnTo>
                      <a:pt x="1014412" y="700088"/>
                    </a:lnTo>
                    <a:lnTo>
                      <a:pt x="1014412" y="723900"/>
                    </a:lnTo>
                    <a:lnTo>
                      <a:pt x="1066800" y="723900"/>
                    </a:lnTo>
                    <a:lnTo>
                      <a:pt x="1066800" y="762000"/>
                    </a:lnTo>
                    <a:lnTo>
                      <a:pt x="1238250" y="762000"/>
                    </a:lnTo>
                    <a:lnTo>
                      <a:pt x="1238250" y="795338"/>
                    </a:lnTo>
                    <a:lnTo>
                      <a:pt x="1271587" y="795338"/>
                    </a:lnTo>
                    <a:lnTo>
                      <a:pt x="1281112" y="804863"/>
                    </a:lnTo>
                    <a:lnTo>
                      <a:pt x="1400175" y="804863"/>
                    </a:lnTo>
                    <a:lnTo>
                      <a:pt x="1400175" y="828675"/>
                    </a:lnTo>
                    <a:lnTo>
                      <a:pt x="1452562" y="828675"/>
                    </a:lnTo>
                    <a:lnTo>
                      <a:pt x="1452562" y="852488"/>
                    </a:lnTo>
                    <a:lnTo>
                      <a:pt x="1485900" y="852488"/>
                    </a:lnTo>
                    <a:lnTo>
                      <a:pt x="1485900" y="862013"/>
                    </a:lnTo>
                    <a:lnTo>
                      <a:pt x="1519237" y="862013"/>
                    </a:lnTo>
                    <a:lnTo>
                      <a:pt x="1528762" y="871538"/>
                    </a:lnTo>
                    <a:lnTo>
                      <a:pt x="1557337" y="871538"/>
                    </a:lnTo>
                    <a:lnTo>
                      <a:pt x="1566862" y="881063"/>
                    </a:lnTo>
                    <a:lnTo>
                      <a:pt x="1790700" y="881063"/>
                    </a:lnTo>
                    <a:lnTo>
                      <a:pt x="1790700" y="923925"/>
                    </a:lnTo>
                    <a:lnTo>
                      <a:pt x="1824037" y="923925"/>
                    </a:lnTo>
                    <a:lnTo>
                      <a:pt x="1838325" y="938213"/>
                    </a:lnTo>
                    <a:lnTo>
                      <a:pt x="1952625" y="938213"/>
                    </a:lnTo>
                    <a:lnTo>
                      <a:pt x="1952625" y="976313"/>
                    </a:lnTo>
                    <a:lnTo>
                      <a:pt x="2019300" y="976313"/>
                    </a:lnTo>
                    <a:lnTo>
                      <a:pt x="2019300" y="995363"/>
                    </a:lnTo>
                    <a:lnTo>
                      <a:pt x="2143125" y="995363"/>
                    </a:lnTo>
                    <a:lnTo>
                      <a:pt x="2166937" y="995363"/>
                    </a:lnTo>
                    <a:lnTo>
                      <a:pt x="2166937" y="1028700"/>
                    </a:lnTo>
                    <a:lnTo>
                      <a:pt x="2228850" y="1028700"/>
                    </a:lnTo>
                    <a:lnTo>
                      <a:pt x="2228850" y="1066800"/>
                    </a:lnTo>
                    <a:lnTo>
                      <a:pt x="2352675" y="1066800"/>
                    </a:lnTo>
                    <a:lnTo>
                      <a:pt x="2352675" y="1109663"/>
                    </a:lnTo>
                    <a:lnTo>
                      <a:pt x="2395537" y="1109663"/>
                    </a:lnTo>
                    <a:lnTo>
                      <a:pt x="2395537" y="1147763"/>
                    </a:lnTo>
                    <a:lnTo>
                      <a:pt x="2509837" y="1147763"/>
                    </a:lnTo>
                    <a:lnTo>
                      <a:pt x="2509837" y="1190625"/>
                    </a:lnTo>
                    <a:lnTo>
                      <a:pt x="2562225" y="1190625"/>
                    </a:lnTo>
                    <a:lnTo>
                      <a:pt x="2562225" y="1243013"/>
                    </a:lnTo>
                    <a:lnTo>
                      <a:pt x="2790825" y="1243013"/>
                    </a:lnTo>
                    <a:lnTo>
                      <a:pt x="2790825" y="1266825"/>
                    </a:lnTo>
                    <a:lnTo>
                      <a:pt x="2838450" y="1266825"/>
                    </a:lnTo>
                    <a:lnTo>
                      <a:pt x="2852737" y="1281112"/>
                    </a:lnTo>
                    <a:lnTo>
                      <a:pt x="2895600" y="1281112"/>
                    </a:lnTo>
                    <a:lnTo>
                      <a:pt x="2914650" y="1300162"/>
                    </a:lnTo>
                    <a:lnTo>
                      <a:pt x="3019425" y="1300162"/>
                    </a:lnTo>
                    <a:lnTo>
                      <a:pt x="3019425" y="1333500"/>
                    </a:lnTo>
                    <a:lnTo>
                      <a:pt x="3128962" y="1333500"/>
                    </a:lnTo>
                    <a:lnTo>
                      <a:pt x="3128962" y="1357313"/>
                    </a:lnTo>
                    <a:lnTo>
                      <a:pt x="3238500" y="1357313"/>
                    </a:lnTo>
                    <a:lnTo>
                      <a:pt x="3238500" y="1414463"/>
                    </a:lnTo>
                    <a:lnTo>
                      <a:pt x="3390900" y="1414463"/>
                    </a:lnTo>
                    <a:lnTo>
                      <a:pt x="3405187" y="1428750"/>
                    </a:lnTo>
                    <a:lnTo>
                      <a:pt x="3462337" y="1428750"/>
                    </a:lnTo>
                    <a:lnTo>
                      <a:pt x="3462337" y="1500188"/>
                    </a:lnTo>
                    <a:lnTo>
                      <a:pt x="3481387" y="1500188"/>
                    </a:lnTo>
                    <a:lnTo>
                      <a:pt x="3505200" y="1500188"/>
                    </a:lnTo>
                    <a:lnTo>
                      <a:pt x="3505200" y="1538288"/>
                    </a:lnTo>
                  </a:path>
                </a:pathLst>
              </a:custGeom>
              <a:noFill/>
              <a:ln w="222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58">
                <a:extLst>
                  <a:ext uri="{FF2B5EF4-FFF2-40B4-BE49-F238E27FC236}">
                    <a16:creationId xmlns:a16="http://schemas.microsoft.com/office/drawing/2014/main" id="{94598A79-76C3-4017-BCC1-8730D66AAF72}"/>
                  </a:ext>
                </a:extLst>
              </p:cNvPr>
              <p:cNvSpPr/>
              <p:nvPr/>
            </p:nvSpPr>
            <p:spPr>
              <a:xfrm>
                <a:off x="7261147" y="2523315"/>
                <a:ext cx="2406875" cy="322847"/>
              </a:xfrm>
              <a:custGeom>
                <a:avLst/>
                <a:gdLst>
                  <a:gd name="connsiteX0" fmla="*/ 0 w 3529013"/>
                  <a:gd name="connsiteY0" fmla="*/ 0 h 461962"/>
                  <a:gd name="connsiteX1" fmla="*/ 285750 w 3529013"/>
                  <a:gd name="connsiteY1" fmla="*/ 0 h 461962"/>
                  <a:gd name="connsiteX2" fmla="*/ 285750 w 3529013"/>
                  <a:gd name="connsiteY2" fmla="*/ 47625 h 461962"/>
                  <a:gd name="connsiteX3" fmla="*/ 733425 w 3529013"/>
                  <a:gd name="connsiteY3" fmla="*/ 47625 h 461962"/>
                  <a:gd name="connsiteX4" fmla="*/ 733425 w 3529013"/>
                  <a:gd name="connsiteY4" fmla="*/ 66675 h 461962"/>
                  <a:gd name="connsiteX5" fmla="*/ 1014413 w 3529013"/>
                  <a:gd name="connsiteY5" fmla="*/ 66675 h 461962"/>
                  <a:gd name="connsiteX6" fmla="*/ 1014413 w 3529013"/>
                  <a:gd name="connsiteY6" fmla="*/ 95250 h 461962"/>
                  <a:gd name="connsiteX7" fmla="*/ 1181100 w 3529013"/>
                  <a:gd name="connsiteY7" fmla="*/ 95250 h 461962"/>
                  <a:gd name="connsiteX8" fmla="*/ 1181100 w 3529013"/>
                  <a:gd name="connsiteY8" fmla="*/ 128587 h 461962"/>
                  <a:gd name="connsiteX9" fmla="*/ 1852613 w 3529013"/>
                  <a:gd name="connsiteY9" fmla="*/ 128587 h 461962"/>
                  <a:gd name="connsiteX10" fmla="*/ 1852613 w 3529013"/>
                  <a:gd name="connsiteY10" fmla="*/ 166687 h 461962"/>
                  <a:gd name="connsiteX11" fmla="*/ 2128838 w 3529013"/>
                  <a:gd name="connsiteY11" fmla="*/ 166687 h 461962"/>
                  <a:gd name="connsiteX12" fmla="*/ 2128838 w 3529013"/>
                  <a:gd name="connsiteY12" fmla="*/ 238125 h 461962"/>
                  <a:gd name="connsiteX13" fmla="*/ 2190750 w 3529013"/>
                  <a:gd name="connsiteY13" fmla="*/ 238125 h 461962"/>
                  <a:gd name="connsiteX14" fmla="*/ 2190750 w 3529013"/>
                  <a:gd name="connsiteY14" fmla="*/ 285750 h 461962"/>
                  <a:gd name="connsiteX15" fmla="*/ 2528888 w 3529013"/>
                  <a:gd name="connsiteY15" fmla="*/ 285750 h 461962"/>
                  <a:gd name="connsiteX16" fmla="*/ 2528888 w 3529013"/>
                  <a:gd name="connsiteY16" fmla="*/ 323850 h 461962"/>
                  <a:gd name="connsiteX17" fmla="*/ 2790825 w 3529013"/>
                  <a:gd name="connsiteY17" fmla="*/ 323850 h 461962"/>
                  <a:gd name="connsiteX18" fmla="*/ 2790825 w 3529013"/>
                  <a:gd name="connsiteY18" fmla="*/ 419100 h 461962"/>
                  <a:gd name="connsiteX19" fmla="*/ 3071813 w 3529013"/>
                  <a:gd name="connsiteY19" fmla="*/ 419100 h 461962"/>
                  <a:gd name="connsiteX20" fmla="*/ 3071813 w 3529013"/>
                  <a:gd name="connsiteY20" fmla="*/ 461962 h 461962"/>
                  <a:gd name="connsiteX21" fmla="*/ 3529013 w 3529013"/>
                  <a:gd name="connsiteY21" fmla="*/ 461962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29013" h="461962">
                    <a:moveTo>
                      <a:pt x="0" y="0"/>
                    </a:moveTo>
                    <a:lnTo>
                      <a:pt x="285750" y="0"/>
                    </a:lnTo>
                    <a:lnTo>
                      <a:pt x="285750" y="47625"/>
                    </a:lnTo>
                    <a:lnTo>
                      <a:pt x="733425" y="47625"/>
                    </a:lnTo>
                    <a:lnTo>
                      <a:pt x="733425" y="66675"/>
                    </a:lnTo>
                    <a:lnTo>
                      <a:pt x="1014413" y="66675"/>
                    </a:lnTo>
                    <a:lnTo>
                      <a:pt x="1014413" y="95250"/>
                    </a:lnTo>
                    <a:lnTo>
                      <a:pt x="1181100" y="95250"/>
                    </a:lnTo>
                    <a:lnTo>
                      <a:pt x="1181100" y="128587"/>
                    </a:lnTo>
                    <a:lnTo>
                      <a:pt x="1852613" y="128587"/>
                    </a:lnTo>
                    <a:lnTo>
                      <a:pt x="1852613" y="166687"/>
                    </a:lnTo>
                    <a:lnTo>
                      <a:pt x="2128838" y="166687"/>
                    </a:lnTo>
                    <a:lnTo>
                      <a:pt x="2128838" y="238125"/>
                    </a:lnTo>
                    <a:lnTo>
                      <a:pt x="2190750" y="238125"/>
                    </a:lnTo>
                    <a:lnTo>
                      <a:pt x="2190750" y="285750"/>
                    </a:lnTo>
                    <a:lnTo>
                      <a:pt x="2528888" y="285750"/>
                    </a:lnTo>
                    <a:lnTo>
                      <a:pt x="2528888" y="323850"/>
                    </a:lnTo>
                    <a:lnTo>
                      <a:pt x="2790825" y="323850"/>
                    </a:lnTo>
                    <a:lnTo>
                      <a:pt x="2790825" y="419100"/>
                    </a:lnTo>
                    <a:lnTo>
                      <a:pt x="3071813" y="419100"/>
                    </a:lnTo>
                    <a:lnTo>
                      <a:pt x="3071813" y="461962"/>
                    </a:lnTo>
                    <a:lnTo>
                      <a:pt x="3529013" y="461962"/>
                    </a:lnTo>
                  </a:path>
                </a:pathLst>
              </a:custGeom>
              <a:noFill/>
              <a:ln w="22225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3" name="Rectangle 9">
            <a:extLst>
              <a:ext uri="{FF2B5EF4-FFF2-40B4-BE49-F238E27FC236}">
                <a16:creationId xmlns:a16="http://schemas.microsoft.com/office/drawing/2014/main" id="{4560C39D-A0EF-491F-A10A-F7A000E4CE0A}"/>
              </a:ext>
            </a:extLst>
          </p:cNvPr>
          <p:cNvSpPr/>
          <p:nvPr/>
        </p:nvSpPr>
        <p:spPr>
          <a:xfrm>
            <a:off x="6103891" y="2007759"/>
            <a:ext cx="498098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У пациентов, стратифицированных в группы промежуточного и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высокого риска на исходном этапе,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наблюдались значимо менее благоприятные отдаленные исходы по сравнению с пациентами из группы низкого риска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1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, 3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и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5-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летняя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выживаемость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в зависимости от исходной группы риска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: 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600" kern="0" dirty="0">
              <a:solidFill>
                <a:srgbClr val="002060"/>
              </a:solidFill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000" kern="0" dirty="0">
              <a:solidFill>
                <a:srgbClr val="002060"/>
              </a:solidFill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342900" marR="0" lvl="0" indent="-34290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8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Стратификация риска, предложенная в рекомендациях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ESC/ERS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позволяет с успехом разделить пациентов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с лучшим или худшим возможным прогнозом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на исходном этапе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89694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972A972-5FAC-44B1-BFF2-C89F199D7E92}"/>
              </a:ext>
            </a:extLst>
          </p:cNvPr>
          <p:cNvSpPr/>
          <p:nvPr/>
        </p:nvSpPr>
        <p:spPr>
          <a:xfrm>
            <a:off x="366675" y="926055"/>
            <a:ext cx="113456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ESC/ERS 2015 используют  многофакторную оценку риска, как на этапе постановки диагноза, так и на этапах оценки лечения</a:t>
            </a:r>
            <a:endParaRPr kumimoji="0" lang="ru-RU" sz="2400" i="0" u="none" strike="noStrike" kern="1200" cap="none" spc="0" normalizeH="0" baseline="3000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F64E3D-C6B0-428B-B9BE-613B9CEB6B5F}"/>
              </a:ext>
            </a:extLst>
          </p:cNvPr>
          <p:cNvSpPr txBox="1">
            <a:spLocks/>
          </p:cNvSpPr>
          <p:nvPr/>
        </p:nvSpPr>
        <p:spPr>
          <a:xfrm>
            <a:off x="235354" y="6168693"/>
            <a:ext cx="11608302" cy="502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sz="900" b="0" i="0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liè</a:t>
            </a: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,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rt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</a:t>
            </a: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; 37:67-119; Рисунок по материалам </a:t>
            </a:r>
            <a:r>
              <a:rPr kumimoji="0" lang="ru-RU" sz="900" b="0" i="0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aliè</a:t>
            </a: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. и </a:t>
            </a:r>
            <a:r>
              <a:rPr kumimoji="0" lang="ru-RU" sz="900" b="0" i="0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авт</a:t>
            </a: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0" i="1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rt</a:t>
            </a:r>
            <a:r>
              <a:rPr kumimoji="0" lang="ru-RU" sz="9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</a:t>
            </a:r>
            <a:r>
              <a:rPr kumimoji="0" lang="ru-RU" sz="9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; 37:67-119.</a:t>
            </a:r>
          </a:p>
        </p:txBody>
      </p:sp>
      <p:sp>
        <p:nvSpPr>
          <p:cNvPr id="6" name="Rounded Rectangle 15">
            <a:extLst>
              <a:ext uri="{FF2B5EF4-FFF2-40B4-BE49-F238E27FC236}">
                <a16:creationId xmlns:a16="http://schemas.microsoft.com/office/drawing/2014/main" id="{451AFCFC-9AC4-4753-8DE2-4B851D257244}"/>
              </a:ext>
            </a:extLst>
          </p:cNvPr>
          <p:cNvSpPr/>
          <p:nvPr/>
        </p:nvSpPr>
        <p:spPr>
          <a:xfrm>
            <a:off x="634094" y="2769752"/>
            <a:ext cx="2006577" cy="369369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ническая оценка</a:t>
            </a: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EB6DC901-090B-4B3D-AEFA-FD93FE400E1E}"/>
              </a:ext>
            </a:extLst>
          </p:cNvPr>
          <p:cNvSpPr/>
          <p:nvPr/>
        </p:nvSpPr>
        <p:spPr>
          <a:xfrm>
            <a:off x="634094" y="3880460"/>
            <a:ext cx="2006577" cy="369369"/>
          </a:xfrm>
          <a:prstGeom prst="roundRect">
            <a:avLst/>
          </a:prstGeom>
          <a:noFill/>
          <a:ln w="28575">
            <a:solidFill>
              <a:schemeClr val="accent3"/>
            </a:solidFill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пособность переносить физическую нагрузку</a:t>
            </a:r>
          </a:p>
        </p:txBody>
      </p:sp>
      <p:sp>
        <p:nvSpPr>
          <p:cNvPr id="8" name="Rounded Rectangle 18">
            <a:extLst>
              <a:ext uri="{FF2B5EF4-FFF2-40B4-BE49-F238E27FC236}">
                <a16:creationId xmlns:a16="http://schemas.microsoft.com/office/drawing/2014/main" id="{A9E0259F-FEF5-4ECF-8BE7-6D73024A9F6F}"/>
              </a:ext>
            </a:extLst>
          </p:cNvPr>
          <p:cNvSpPr/>
          <p:nvPr/>
        </p:nvSpPr>
        <p:spPr>
          <a:xfrm>
            <a:off x="635305" y="5014491"/>
            <a:ext cx="2005366" cy="369369"/>
          </a:xfrm>
          <a:prstGeom prst="roundRect">
            <a:avLst/>
          </a:prstGeom>
          <a:noFill/>
          <a:ln w="28575">
            <a:solidFill>
              <a:schemeClr val="accent2"/>
            </a:solidFill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ункция правого желудочка </a:t>
            </a:r>
          </a:p>
        </p:txBody>
      </p:sp>
      <p:graphicFrame>
        <p:nvGraphicFramePr>
          <p:cNvPr id="10" name="Content Placeholder 4">
            <a:extLst>
              <a:ext uri="{FF2B5EF4-FFF2-40B4-BE49-F238E27FC236}">
                <a16:creationId xmlns:a16="http://schemas.microsoft.com/office/drawing/2014/main" id="{21085C15-045F-4FB6-AEC4-2BB2F173B7C7}"/>
              </a:ext>
            </a:extLst>
          </p:cNvPr>
          <p:cNvGraphicFramePr>
            <a:graphicFrameLocks/>
          </p:cNvGraphicFramePr>
          <p:nvPr/>
        </p:nvGraphicFramePr>
        <p:xfrm>
          <a:off x="3018972" y="1787281"/>
          <a:ext cx="8824684" cy="4160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48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3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93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6681">
                <a:tc rowSpan="2">
                  <a:txBody>
                    <a:bodyPr/>
                    <a:lstStyle/>
                    <a:p>
                      <a:pPr algn="ctr" rtl="0"/>
                      <a:r>
                        <a:rPr lang="ru-RU" sz="105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акторы, определяющие прогноз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Расчетная смертность в течение 1 года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/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681">
                <a:tc v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5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изкий риск &lt;5%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5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редний риск 5-10%</a:t>
                      </a:r>
                      <a:endParaRPr lang="ru-RU" sz="105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5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ысокий риск &gt; 10%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319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линические признаки правожелудочковой недостаточности 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тсутствуют 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тсутствуют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рисутствуют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248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рогрессирование симптомов</a:t>
                      </a:r>
                      <a:endParaRPr lang="ru-RU" sz="100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едленное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ыстрое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3177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морок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ериодические обмороки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вторяющиеся обмороки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3177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ФК по</a:t>
                      </a: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ВОЗ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, II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II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IV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3177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Т6-МХ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&gt; 440 м</a:t>
                      </a:r>
                      <a:endParaRPr lang="ru-RU" sz="100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65-440 м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&lt;165 м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319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ПНТ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1000" b="1" i="0" u="none" baseline="-25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&gt;15 мл/мин/кг </a:t>
                      </a:r>
                      <a:br>
                        <a:rPr lang="ru-RU" sz="1000" b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(&gt;65% от должного)</a:t>
                      </a:r>
                      <a:br>
                        <a:rPr lang="ru-RU" sz="1000" b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1000" b="1" i="0" u="none" baseline="-25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&lt;36</a:t>
                      </a:r>
                      <a:endParaRPr lang="ru-RU" sz="1000" b="1" noProof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1000" b="1" i="0" u="none" baseline="-25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11-15 мл/мин/кг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(35-65% от должного) </a:t>
                      </a:r>
                      <a:br>
                        <a:rPr lang="ru-RU" sz="1000" b="1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1000" b="1" i="0" u="none" baseline="-25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6-44,9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1000" b="1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&lt;11 мл/мин/кг</a:t>
                      </a:r>
                    </a:p>
                    <a:p>
                      <a:pPr algn="ctr" rtl="0">
                        <a:spcBef>
                          <a:spcPts val="0"/>
                        </a:spcBef>
                      </a:pP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(&lt;35% от должного)</a:t>
                      </a:r>
                      <a:br>
                        <a:rPr lang="ru-RU"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1000" b="1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≥ 45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319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Концентрация NT-</a:t>
                      </a:r>
                      <a:r>
                        <a:rPr lang="ru-RU" sz="10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1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в плазме крови</a:t>
                      </a:r>
                      <a:endParaRPr lang="ru-RU" sz="1000" b="1" noProof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BNP &lt;50 нг/л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NT-proBNP &lt;300 нг/л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BNP 50-300 нг/л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NT-proBNP 300-1400 нг/л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BNP &gt;300 нг/л</a:t>
                      </a:r>
                      <a:br>
                        <a:rPr lang="ru-RU" sz="10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NT-proBNP &gt;1400 нг/л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3390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изуализирующие исследования </a:t>
                      </a:r>
                      <a:b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(ЭхоКГ, кМРТ)</a:t>
                      </a:r>
                      <a:endParaRPr lang="ru-RU" sz="100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лощадь ПП &lt;18 см</a:t>
                      </a:r>
                      <a:r>
                        <a:rPr lang="ru-RU" sz="1000" b="1" i="0" u="none" strike="noStrike" kern="1200" baseline="300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тсутствие перикардиального выпота</a:t>
                      </a:r>
                      <a:endParaRPr lang="ru-RU" sz="100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лощадь ПП 18-26 см</a:t>
                      </a:r>
                      <a:r>
                        <a:rPr lang="ru-RU" sz="1000" b="1" i="0" u="none" baseline="30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тсутствие или минимальное количество перикардиального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выпота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лощадь ПП &gt; 26 см</a:t>
                      </a:r>
                      <a:r>
                        <a:rPr lang="ru-RU" sz="1000" b="1" i="0" u="none" strike="noStrike" kern="120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ерикардиальный выпот</a:t>
                      </a:r>
                      <a:endParaRPr lang="ru-RU" sz="1000" b="1" noProof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3319"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Гемодинамика</a:t>
                      </a:r>
                      <a:endParaRPr lang="ru-RU" sz="1000" b="1" noProof="0" dirty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5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ПП &lt;8 мм рт.ст.</a:t>
                      </a:r>
                    </a:p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И ≥ 2,5 л/мин/м</a:t>
                      </a:r>
                      <a:r>
                        <a:rPr lang="ru-RU" sz="1000" b="1" i="0" u="none" strike="noStrike" kern="1200" baseline="300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strike="noStrike" kern="1200" baseline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vO2 &gt; 65%</a:t>
                      </a:r>
                      <a:endParaRPr lang="ru-RU" sz="1000" b="1" noProof="0"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ПП 8-14 мм рт.ст.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И 2,0-2,4 л/мин/м</a:t>
                      </a:r>
                      <a:r>
                        <a:rPr lang="ru-RU" sz="1000" b="1" i="0" u="none" baseline="3000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baseline="0"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vO2 60-65%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ДПП &gt; 14 мм </a:t>
                      </a:r>
                      <a:r>
                        <a:rPr lang="ru-RU" sz="1000" b="1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рт.ст</a:t>
                      </a:r>
                      <a:r>
                        <a:rPr lang="ru-RU" sz="10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И &lt;2,0 л/мин/м</a:t>
                      </a:r>
                      <a:r>
                        <a:rPr lang="ru-RU" sz="1000" b="1" i="0" u="none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vO2 &lt;60%</a:t>
                      </a:r>
                    </a:p>
                  </a:txBody>
                  <a:tcPr marL="45721" marR="45721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388FF1C-60FC-439A-9F04-59FFA338634F}"/>
              </a:ext>
            </a:extLst>
          </p:cNvPr>
          <p:cNvSpPr/>
          <p:nvPr/>
        </p:nvSpPr>
        <p:spPr>
          <a:xfrm>
            <a:off x="3018973" y="2252241"/>
            <a:ext cx="1724476" cy="1313454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ヒラギノ角ゴ ProN W3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B7E48B-E698-4F65-9FD4-7DD3DB27EDEA}"/>
              </a:ext>
            </a:extLst>
          </p:cNvPr>
          <p:cNvSpPr/>
          <p:nvPr/>
        </p:nvSpPr>
        <p:spPr>
          <a:xfrm>
            <a:off x="3018972" y="4390278"/>
            <a:ext cx="1724477" cy="1526858"/>
          </a:xfrm>
          <a:prstGeom prst="rect">
            <a:avLst/>
          </a:prstGeom>
          <a:noFill/>
          <a:ln w="381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ヒラギノ角ゴ ProN W3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F4672A-3499-4B21-9D74-B80E51552EFB}"/>
              </a:ext>
            </a:extLst>
          </p:cNvPr>
          <p:cNvSpPr/>
          <p:nvPr/>
        </p:nvSpPr>
        <p:spPr>
          <a:xfrm>
            <a:off x="3018972" y="3565696"/>
            <a:ext cx="1724477" cy="824582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ヒラギノ角ゴ ProN W3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32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28EAF44-BC34-4724-B09D-9AE59F32CE24}"/>
              </a:ext>
            </a:extLst>
          </p:cNvPr>
          <p:cNvSpPr/>
          <p:nvPr/>
        </p:nvSpPr>
        <p:spPr>
          <a:xfrm>
            <a:off x="404797" y="921187"/>
            <a:ext cx="114942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рная оценка риска рекомендуется для </a:t>
            </a:r>
            <a:r>
              <a:rPr lang="ru-RU" sz="2400" i="0" u="non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я влияния выбранной тактики лечения на отдалённые исходы</a:t>
            </a:r>
            <a:endParaRPr lang="ru-RU" sz="2400" baseline="30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F4EFA81-EDB4-4923-8B00-89F80D692C10}"/>
              </a:ext>
            </a:extLst>
          </p:cNvPr>
          <p:cNvSpPr txBox="1">
            <a:spLocks/>
          </p:cNvSpPr>
          <p:nvPr/>
        </p:nvSpPr>
        <p:spPr>
          <a:xfrm>
            <a:off x="244878" y="6370815"/>
            <a:ext cx="11494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rtl="0">
              <a:defRPr/>
            </a:pPr>
            <a:r>
              <a:rPr lang="ru-RU" sz="10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000" b="0" i="0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Galiè</a:t>
            </a:r>
            <a:r>
              <a:rPr lang="ru-RU" sz="10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N, </a:t>
            </a:r>
            <a:r>
              <a:rPr lang="ru-RU" sz="1000" b="0" i="1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ru-RU" sz="1000" b="0" i="1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0" i="1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al</a:t>
            </a:r>
            <a:r>
              <a:rPr lang="ru-RU" sz="1000" b="0" i="1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b="0" i="1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Eur</a:t>
            </a:r>
            <a:r>
              <a:rPr lang="ru-RU" sz="1000" b="0" i="1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0" i="1" u="non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Heart</a:t>
            </a:r>
            <a:r>
              <a:rPr lang="ru-RU" sz="1000" b="0" i="1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ru-RU" sz="1000" b="0" i="0" u="none" baseline="0" dirty="0">
                <a:latin typeface="Arial" panose="020B0604020202020204" pitchFamily="34" charset="0"/>
                <a:cs typeface="Arial" panose="020B0604020202020204" pitchFamily="34" charset="0"/>
              </a:rPr>
              <a:t>2016; 37:67-119</a:t>
            </a:r>
            <a:r>
              <a:rPr lang="ru-RU" sz="1000" b="0" i="0" u="non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00" name="Content Placeholder 3">
            <a:extLst>
              <a:ext uri="{FF2B5EF4-FFF2-40B4-BE49-F238E27FC236}">
                <a16:creationId xmlns:a16="http://schemas.microsoft.com/office/drawing/2014/main" id="{F7A79AAC-970F-4BCE-B84F-89471F103A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8292040"/>
              </p:ext>
            </p:extLst>
          </p:nvPr>
        </p:nvGraphicFramePr>
        <p:xfrm>
          <a:off x="404797" y="2242069"/>
          <a:ext cx="11174436" cy="3395196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3448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9417">
                  <a:extLst>
                    <a:ext uri="{9D8B030D-6E8A-4147-A177-3AD203B41FA5}">
                      <a16:colId xmlns:a16="http://schemas.microsoft.com/office/drawing/2014/main" val="1140576599"/>
                    </a:ext>
                  </a:extLst>
                </a:gridCol>
                <a:gridCol w="1513349">
                  <a:extLst>
                    <a:ext uri="{9D8B030D-6E8A-4147-A177-3AD203B41FA5}">
                      <a16:colId xmlns:a16="http://schemas.microsoft.com/office/drawing/2014/main" val="3263130645"/>
                    </a:ext>
                  </a:extLst>
                </a:gridCol>
                <a:gridCol w="1638592">
                  <a:extLst>
                    <a:ext uri="{9D8B030D-6E8A-4147-A177-3AD203B41FA5}">
                      <a16:colId xmlns:a16="http://schemas.microsoft.com/office/drawing/2014/main" val="140401119"/>
                    </a:ext>
                  </a:extLst>
                </a:gridCol>
                <a:gridCol w="1586407">
                  <a:extLst>
                    <a:ext uri="{9D8B030D-6E8A-4147-A177-3AD203B41FA5}">
                      <a16:colId xmlns:a16="http://schemas.microsoft.com/office/drawing/2014/main" val="1689012346"/>
                    </a:ext>
                  </a:extLst>
                </a:gridCol>
                <a:gridCol w="15681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547">
                <a:tc>
                  <a:txBody>
                    <a:bodyPr/>
                    <a:lstStyle/>
                    <a:p>
                      <a:endParaRPr lang="ru-RU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исходном уровне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ждые 3-6 месяцев</a:t>
                      </a:r>
                      <a:r>
                        <a:rPr lang="ru-RU" sz="1200" b="1" i="0" u="none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ждые 6-12 месяцев</a:t>
                      </a:r>
                      <a:r>
                        <a:rPr lang="ru-RU" sz="1200" b="1" i="0" u="none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ru-RU" sz="12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6 месяцев после изменения терапии</a:t>
                      </a:r>
                      <a:r>
                        <a:rPr lang="ru-RU" sz="1200" b="1" i="0" u="none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ru-RU" sz="12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лучае клинического ухудшения</a:t>
                      </a: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ицинская оценка и определение ФК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кардиограмма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6-МХ/шкала одышки Борга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453107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диопульмональный нагрузочный тест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ru-RU" sz="1200" b="1" i="0" u="none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234939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хокардиография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818943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лабораторные исследования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843301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ные лабораторные исследования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166460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 газов крови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6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416296"/>
                  </a:ext>
                </a:extLst>
              </a:tr>
              <a:tr h="28723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теризация правых отделов сердца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ru-RU" sz="1200" b="1" i="0" u="none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ru-RU" sz="1200" b="1" i="0" u="none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ru-RU" sz="120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ru-RU" sz="1200" b="1" i="0" u="none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6" marR="91446" marT="45723" marB="4572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5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315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3256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A918ED75-32A7-4C40-84B7-ECADF5D7C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060" y="1606093"/>
            <a:ext cx="8548027" cy="5082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2A71F21-8F3E-4B0D-985E-0EBE204C5B09}"/>
              </a:ext>
            </a:extLst>
          </p:cNvPr>
          <p:cNvSpPr txBox="1">
            <a:spLocks/>
          </p:cNvSpPr>
          <p:nvPr/>
        </p:nvSpPr>
        <p:spPr>
          <a:xfrm>
            <a:off x="341487" y="870759"/>
            <a:ext cx="11140361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ельнский консенсус экспертов ЛАГ 2018: фокус на </a:t>
            </a:r>
            <a:r>
              <a:rPr lang="ru-RU" sz="2800" kern="0" cap="none" dirty="0">
                <a:solidFill>
                  <a:srgbClr val="002060"/>
                </a:solidFill>
                <a:latin typeface="Arial"/>
              </a:rPr>
              <a:t>раннюю </a:t>
            </a:r>
            <a:r>
              <a:rPr kumimoji="0" lang="ru-RU" sz="280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омбинированную терапию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5E000A-298C-4780-B03C-76FE3675F745}"/>
              </a:ext>
            </a:extLst>
          </p:cNvPr>
          <p:cNvSpPr txBox="1"/>
          <p:nvPr/>
        </p:nvSpPr>
        <p:spPr>
          <a:xfrm>
            <a:off x="89755" y="6364717"/>
            <a:ext cx="55875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Адаптировано из </a:t>
            </a:r>
            <a:r>
              <a:rPr lang="en-US" sz="1000" dirty="0" err="1"/>
              <a:t>Hoeper</a:t>
            </a:r>
            <a:r>
              <a:rPr lang="en-US" sz="1000" dirty="0"/>
              <a:t> M.M. et al. Targeted therapy of PAH: updated recommendations from the Cologne Consensus Conference 2018//</a:t>
            </a:r>
            <a:r>
              <a:rPr lang="en-US" sz="1000" dirty="0" err="1"/>
              <a:t>Int</a:t>
            </a:r>
            <a:r>
              <a:rPr lang="en-US" sz="1000" dirty="0"/>
              <a:t> J of </a:t>
            </a:r>
            <a:r>
              <a:rPr lang="en-US" sz="1000" dirty="0" err="1"/>
              <a:t>Cardiol</a:t>
            </a:r>
            <a:r>
              <a:rPr lang="en-US" sz="1000" dirty="0"/>
              <a:t> 2018</a:t>
            </a:r>
            <a:endParaRPr lang="ru-RU" sz="10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0CF9A1E-B7C0-430C-9C0A-8995E5F27AD7}"/>
              </a:ext>
            </a:extLst>
          </p:cNvPr>
          <p:cNvCxnSpPr/>
          <p:nvPr/>
        </p:nvCxnSpPr>
        <p:spPr>
          <a:xfrm>
            <a:off x="2286660" y="3133520"/>
            <a:ext cx="914400" cy="91440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BF313A9A-8A9D-4F54-BEED-37978FC8D56B}"/>
              </a:ext>
            </a:extLst>
          </p:cNvPr>
          <p:cNvSpPr/>
          <p:nvPr/>
        </p:nvSpPr>
        <p:spPr>
          <a:xfrm>
            <a:off x="190658" y="1900164"/>
            <a:ext cx="2723399" cy="1283517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Комбинированная терапия – новый стандарт лечения ЛАГ</a:t>
            </a:r>
          </a:p>
        </p:txBody>
      </p:sp>
    </p:spTree>
    <p:extLst>
      <p:ext uri="{BB962C8B-B14F-4D97-AF65-F5344CB8AC3E}">
        <p14:creationId xmlns:p14="http://schemas.microsoft.com/office/powerpoint/2010/main" val="378367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9A60ED1-AB22-451C-93FF-56E341E9AA8A}"/>
              </a:ext>
            </a:extLst>
          </p:cNvPr>
          <p:cNvSpPr txBox="1">
            <a:spLocks/>
          </p:cNvSpPr>
          <p:nvPr/>
        </p:nvSpPr>
        <p:spPr>
          <a:xfrm>
            <a:off x="244879" y="6370815"/>
            <a:ext cx="10466664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ru-RU"/>
            </a:defPPr>
            <a:lvl1pPr marL="0" algn="l" defTabSz="914400" rtl="0" eaLnBrk="1" latinLnBrk="0" hangingPunct="1">
              <a:defRPr sz="1067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eper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M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l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; 203:612-3; 2.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’Alonzo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991; 115:343-9; 3.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è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,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; 37:67-119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21C786-89DD-4353-852D-9609CCA7F6CF}"/>
              </a:ext>
            </a:extLst>
          </p:cNvPr>
          <p:cNvSpPr/>
          <p:nvPr/>
        </p:nvSpPr>
        <p:spPr>
          <a:xfrm>
            <a:off x="222249" y="888212"/>
            <a:ext cx="117681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АГ - редкое прогрессирующее заболевание с неблагоприятным прогнозом при отсутствии лечения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078F53A-2558-4311-B40B-06020BF78610}"/>
              </a:ext>
            </a:extLst>
          </p:cNvPr>
          <p:cNvGrpSpPr/>
          <p:nvPr/>
        </p:nvGrpSpPr>
        <p:grpSpPr>
          <a:xfrm>
            <a:off x="3535379" y="1695450"/>
            <a:ext cx="5141896" cy="4666803"/>
            <a:chOff x="242046" y="1357487"/>
            <a:chExt cx="4956010" cy="495601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pic>
          <p:nvPicPr>
            <p:cNvPr id="5" name="Graphic 4" descr="Man">
              <a:extLst>
                <a:ext uri="{FF2B5EF4-FFF2-40B4-BE49-F238E27FC236}">
                  <a16:creationId xmlns:a16="http://schemas.microsoft.com/office/drawing/2014/main" id="{CD34EF16-BD28-4AF1-A078-D09A81162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42046" y="1357487"/>
              <a:ext cx="4956010" cy="4956010"/>
            </a:xfrm>
            <a:prstGeom prst="rect">
              <a:avLst/>
            </a:prstGeom>
          </p:spPr>
        </p:pic>
        <p:pic>
          <p:nvPicPr>
            <p:cNvPr id="6" name="Graphic 5" descr="Heart with pulse">
              <a:extLst>
                <a:ext uri="{FF2B5EF4-FFF2-40B4-BE49-F238E27FC236}">
                  <a16:creationId xmlns:a16="http://schemas.microsoft.com/office/drawing/2014/main" id="{C141085C-7220-44A4-A770-448101E95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28290" y="2731208"/>
              <a:ext cx="1067922" cy="1067922"/>
            </a:xfrm>
            <a:prstGeom prst="rect">
              <a:avLst/>
            </a:prstGeom>
          </p:spPr>
        </p:pic>
      </p:grp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CFAD7E4B-3427-4599-B23B-A87DC9B7C49C}"/>
              </a:ext>
            </a:extLst>
          </p:cNvPr>
          <p:cNvSpPr/>
          <p:nvPr/>
        </p:nvSpPr>
        <p:spPr>
          <a:xfrm flipH="1">
            <a:off x="6874566" y="1898441"/>
            <a:ext cx="4060148" cy="951371"/>
          </a:xfrm>
          <a:prstGeom prst="homePlate">
            <a:avLst/>
          </a:prstGeom>
          <a:ln w="28575">
            <a:solidFill>
              <a:srgbClr val="5160AB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болеваемость: 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1 - 7,6 на миллион человек</a:t>
            </a:r>
            <a:r>
              <a:rPr kumimoji="0" lang="ru-RU" sz="2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EC9277DA-E7F8-4A95-A8DB-1AAE4CFB50F7}"/>
              </a:ext>
            </a:extLst>
          </p:cNvPr>
          <p:cNvSpPr/>
          <p:nvPr/>
        </p:nvSpPr>
        <p:spPr>
          <a:xfrm>
            <a:off x="735967" y="3371646"/>
            <a:ext cx="3902548" cy="951371"/>
          </a:xfrm>
          <a:prstGeom prst="homePlate">
            <a:avLst/>
          </a:prstGeom>
          <a:ln w="2857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363538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благоприятный кратко- и среднесрочный прогноз</a:t>
            </a:r>
            <a:r>
              <a:rPr kumimoji="0" lang="ru-RU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949C2CE0-47D5-4806-9803-0879C07B56D2}"/>
              </a:ext>
            </a:extLst>
          </p:cNvPr>
          <p:cNvSpPr/>
          <p:nvPr/>
        </p:nvSpPr>
        <p:spPr>
          <a:xfrm>
            <a:off x="1312588" y="1917491"/>
            <a:ext cx="4060148" cy="951371"/>
          </a:xfrm>
          <a:prstGeom prst="homePlate">
            <a:avLst/>
          </a:prstGeom>
          <a:ln w="2857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пространенность: 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,6 - 26 на миллион человек</a:t>
            </a:r>
            <a:r>
              <a:rPr kumimoji="0" lang="ru-RU" sz="2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3F4EBE9-60C1-4C7D-A802-E74BCBCB8C4D}"/>
              </a:ext>
            </a:extLst>
          </p:cNvPr>
          <p:cNvSpPr/>
          <p:nvPr/>
        </p:nvSpPr>
        <p:spPr>
          <a:xfrm>
            <a:off x="1290931" y="4874536"/>
            <a:ext cx="4060148" cy="951371"/>
          </a:xfrm>
          <a:prstGeom prst="homePlate">
            <a:avLst/>
          </a:prstGeom>
          <a:ln w="28575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363538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яжелое и прогрессирующее заболевание</a:t>
            </a:r>
            <a:r>
              <a:rPr kumimoji="0" lang="ru-RU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F22B2F85-7441-4547-BB14-A2942E2E3473}"/>
              </a:ext>
            </a:extLst>
          </p:cNvPr>
          <p:cNvSpPr/>
          <p:nvPr/>
        </p:nvSpPr>
        <p:spPr>
          <a:xfrm flipH="1">
            <a:off x="7516373" y="3362121"/>
            <a:ext cx="3977760" cy="951371"/>
          </a:xfrm>
          <a:prstGeom prst="homePlate">
            <a:avLst/>
          </a:prstGeom>
          <a:ln w="28575">
            <a:solidFill>
              <a:srgbClr val="5160AB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ожное лечение</a:t>
            </a:r>
            <a:r>
              <a:rPr kumimoji="0" lang="ru-RU" sz="2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7336A90D-51DE-4EEE-90E2-55F0B4A5D880}"/>
              </a:ext>
            </a:extLst>
          </p:cNvPr>
          <p:cNvSpPr/>
          <p:nvPr/>
        </p:nvSpPr>
        <p:spPr>
          <a:xfrm flipH="1">
            <a:off x="6878875" y="4876800"/>
            <a:ext cx="4060148" cy="951371"/>
          </a:xfrm>
          <a:prstGeom prst="homePlate">
            <a:avLst/>
          </a:prstGeom>
          <a:ln w="28575">
            <a:solidFill>
              <a:srgbClr val="5160AB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8731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четная медиана выживаемости при </a:t>
            </a:r>
            <a:b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сутствии лечения - 2,8 года</a:t>
            </a:r>
            <a:r>
              <a:rPr kumimoji="0" lang="ru-RU" sz="19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4B62CB-EE14-4F40-B3C7-1F8DAB87ECA3}"/>
              </a:ext>
            </a:extLst>
          </p:cNvPr>
          <p:cNvGrpSpPr/>
          <p:nvPr/>
        </p:nvGrpSpPr>
        <p:grpSpPr>
          <a:xfrm>
            <a:off x="10767995" y="1950489"/>
            <a:ext cx="809689" cy="802298"/>
            <a:chOff x="4686759" y="1488726"/>
            <a:chExt cx="809689" cy="80229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86A7ECD-1FF3-42BB-896B-568D2E3182E0}"/>
                </a:ext>
              </a:extLst>
            </p:cNvPr>
            <p:cNvSpPr/>
            <p:nvPr/>
          </p:nvSpPr>
          <p:spPr>
            <a:xfrm>
              <a:off x="4686759" y="1488726"/>
              <a:ext cx="809689" cy="802298"/>
            </a:xfrm>
            <a:prstGeom prst="ellipse">
              <a:avLst/>
            </a:prstGeom>
            <a:grpFill/>
            <a:ln>
              <a:solidFill>
                <a:srgbClr val="5160AB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5" name="Graphic 14" descr="Group of people">
              <a:extLst>
                <a:ext uri="{FF2B5EF4-FFF2-40B4-BE49-F238E27FC236}">
                  <a16:creationId xmlns:a16="http://schemas.microsoft.com/office/drawing/2014/main" id="{CE503F93-D57A-407A-B5AA-7996EAD50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740685" y="1538334"/>
              <a:ext cx="666295" cy="666295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F4004CC-EFAC-4F5E-B635-F0E02CE06502}"/>
              </a:ext>
            </a:extLst>
          </p:cNvPr>
          <p:cNvGrpSpPr/>
          <p:nvPr/>
        </p:nvGrpSpPr>
        <p:grpSpPr>
          <a:xfrm>
            <a:off x="642315" y="2010278"/>
            <a:ext cx="809689" cy="802298"/>
            <a:chOff x="5023889" y="3504054"/>
            <a:chExt cx="809689" cy="80229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D88BBF6-5679-4008-9D0E-CECD3676A80A}"/>
                </a:ext>
              </a:extLst>
            </p:cNvPr>
            <p:cNvSpPr/>
            <p:nvPr/>
          </p:nvSpPr>
          <p:spPr>
            <a:xfrm>
              <a:off x="5023889" y="3504054"/>
              <a:ext cx="809689" cy="802298"/>
            </a:xfrm>
            <a:prstGeom prst="ellipse">
              <a:avLst/>
            </a:prstGeom>
            <a:grpFill/>
            <a:ln>
              <a:solidFill>
                <a:srgbClr val="5160AB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8" name="Graphic 17" descr="Group">
              <a:extLst>
                <a:ext uri="{FF2B5EF4-FFF2-40B4-BE49-F238E27FC236}">
                  <a16:creationId xmlns:a16="http://schemas.microsoft.com/office/drawing/2014/main" id="{EB7C6062-CDB1-4A45-B246-90D130FA8A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24216" y="3617182"/>
              <a:ext cx="609034" cy="609034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3D8D8DF-9B2E-4CCF-980A-690DEDD1C5B0}"/>
              </a:ext>
            </a:extLst>
          </p:cNvPr>
          <p:cNvGrpSpPr/>
          <p:nvPr/>
        </p:nvGrpSpPr>
        <p:grpSpPr>
          <a:xfrm>
            <a:off x="11081244" y="3436657"/>
            <a:ext cx="809689" cy="802298"/>
            <a:chOff x="9871351" y="1681711"/>
            <a:chExt cx="809689" cy="80229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0811D87-4F63-4F13-B6AF-31FE810237AB}"/>
                </a:ext>
              </a:extLst>
            </p:cNvPr>
            <p:cNvSpPr/>
            <p:nvPr/>
          </p:nvSpPr>
          <p:spPr>
            <a:xfrm>
              <a:off x="9871351" y="1681711"/>
              <a:ext cx="809689" cy="802298"/>
            </a:xfrm>
            <a:prstGeom prst="ellipse">
              <a:avLst/>
            </a:prstGeom>
            <a:grpFill/>
            <a:ln>
              <a:solidFill>
                <a:srgbClr val="5160AB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Graphic 20" descr="Decision chart">
              <a:extLst>
                <a:ext uri="{FF2B5EF4-FFF2-40B4-BE49-F238E27FC236}">
                  <a16:creationId xmlns:a16="http://schemas.microsoft.com/office/drawing/2014/main" id="{08F9F202-B1F7-4642-9308-B1313DA1A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962947" y="1725473"/>
              <a:ext cx="651468" cy="651468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A4AF730-F94A-495B-91CE-E547375FF4A2}"/>
              </a:ext>
            </a:extLst>
          </p:cNvPr>
          <p:cNvGrpSpPr/>
          <p:nvPr/>
        </p:nvGrpSpPr>
        <p:grpSpPr>
          <a:xfrm>
            <a:off x="10795560" y="4937703"/>
            <a:ext cx="809689" cy="802298"/>
            <a:chOff x="3008402" y="4830060"/>
            <a:chExt cx="809689" cy="80229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588E572-E6A7-4BBE-A7E2-13DDEBE1AB3B}"/>
                </a:ext>
              </a:extLst>
            </p:cNvPr>
            <p:cNvSpPr/>
            <p:nvPr/>
          </p:nvSpPr>
          <p:spPr>
            <a:xfrm>
              <a:off x="3008402" y="4830060"/>
              <a:ext cx="809689" cy="802298"/>
            </a:xfrm>
            <a:prstGeom prst="ellipse">
              <a:avLst/>
            </a:prstGeom>
            <a:grpFill/>
            <a:ln>
              <a:solidFill>
                <a:srgbClr val="5160AB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Graphic 23" descr="Medicine">
              <a:extLst>
                <a:ext uri="{FF2B5EF4-FFF2-40B4-BE49-F238E27FC236}">
                  <a16:creationId xmlns:a16="http://schemas.microsoft.com/office/drawing/2014/main" id="{34D9D272-CBD5-40E7-B224-F3B2760EA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34218" y="4951712"/>
              <a:ext cx="583144" cy="583144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809B438-A04F-4E88-88E9-9CE463174E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46911" y="5042263"/>
              <a:ext cx="728255" cy="373031"/>
            </a:xfrm>
            <a:prstGeom prst="line">
              <a:avLst/>
            </a:prstGeom>
            <a:grpFill/>
            <a:ln w="57150"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9BCB0859-C9C8-4411-922F-F5EB4E707C0E}"/>
              </a:ext>
            </a:extLst>
          </p:cNvPr>
          <p:cNvSpPr/>
          <p:nvPr/>
        </p:nvSpPr>
        <p:spPr>
          <a:xfrm>
            <a:off x="866832" y="4943661"/>
            <a:ext cx="809689" cy="802298"/>
          </a:xfrm>
          <a:prstGeom prst="ellipse">
            <a:avLst/>
          </a:prstGeom>
          <a:solidFill>
            <a:schemeClr val="bg1"/>
          </a:solidFill>
          <a:ln>
            <a:solidFill>
              <a:srgbClr val="5160AB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Graphic 29" descr="Heart with pulse">
            <a:extLst>
              <a:ext uri="{FF2B5EF4-FFF2-40B4-BE49-F238E27FC236}">
                <a16:creationId xmlns:a16="http://schemas.microsoft.com/office/drawing/2014/main" id="{27C67F54-7A8A-4316-9F04-F8659331E4D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93647" y="4973907"/>
            <a:ext cx="782874" cy="782874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65184AB6-40D7-48D6-951E-A7B53F5D5036}"/>
              </a:ext>
            </a:extLst>
          </p:cNvPr>
          <p:cNvSpPr/>
          <p:nvPr/>
        </p:nvSpPr>
        <p:spPr>
          <a:xfrm>
            <a:off x="324714" y="3433495"/>
            <a:ext cx="809689" cy="802298"/>
          </a:xfrm>
          <a:prstGeom prst="ellipse">
            <a:avLst/>
          </a:prstGeom>
          <a:solidFill>
            <a:schemeClr val="bg1"/>
          </a:solidFill>
          <a:ln>
            <a:solidFill>
              <a:srgbClr val="5160AB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Graphic 31" descr="Heartbeat">
            <a:extLst>
              <a:ext uri="{FF2B5EF4-FFF2-40B4-BE49-F238E27FC236}">
                <a16:creationId xmlns:a16="http://schemas.microsoft.com/office/drawing/2014/main" id="{49219F90-7323-44CD-9A93-ABB3ACE3E23E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50431" y="3408617"/>
            <a:ext cx="958254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447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7737B13-0FDE-471C-A857-F1D43D3BD2F4}"/>
              </a:ext>
            </a:extLst>
          </p:cNvPr>
          <p:cNvSpPr txBox="1">
            <a:spLocks/>
          </p:cNvSpPr>
          <p:nvPr/>
        </p:nvSpPr>
        <p:spPr>
          <a:xfrm>
            <a:off x="123647" y="6668633"/>
            <a:ext cx="7164000" cy="1441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'Alonzo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1991;115(5):343-9.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7A37EB-AA7E-48B2-B8F6-1ECFA5B5349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8985" y="1716922"/>
            <a:ext cx="12190476" cy="49453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38DD7C-74B8-4850-9D0B-52964DF8E581}"/>
              </a:ext>
            </a:extLst>
          </p:cNvPr>
          <p:cNvSpPr txBox="1"/>
          <p:nvPr/>
        </p:nvSpPr>
        <p:spPr>
          <a:xfrm>
            <a:off x="2069100" y="1947044"/>
            <a:ext cx="9088258" cy="683385"/>
          </a:xfrm>
          <a:prstGeom prst="rect">
            <a:avLst/>
          </a:prstGeom>
          <a:noFill/>
        </p:spPr>
        <p:txBody>
          <a:bodyPr wrap="square" lIns="180000" tIns="0" rIns="216000" bIns="0" rtlCol="0" anchor="ctr" anchorCtr="0">
            <a:noAutofit/>
          </a:bodyPr>
          <a:lstStyle>
            <a:defPPr>
              <a:defRPr lang="ru-RU"/>
            </a:defPPr>
            <a:lvl1pPr>
              <a:lnSpc>
                <a:spcPts val="1700"/>
              </a:lnSpc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1219170">
              <a:defRPr/>
            </a:pPr>
            <a:r>
              <a:rPr lang="ru-RU" sz="1600" dirty="0">
                <a:solidFill>
                  <a:srgbClr val="5160AB">
                    <a:lumMod val="75000"/>
                  </a:srgbClr>
                </a:solidFill>
                <a:latin typeface="Arial"/>
              </a:rPr>
              <a:t>Доля выживших пациентов в зависимости от времени с момента постановки диагноза</a:t>
            </a:r>
            <a:r>
              <a:rPr lang="ru-RU" sz="1600" baseline="30000" dirty="0">
                <a:solidFill>
                  <a:srgbClr val="5160AB">
                    <a:lumMod val="75000"/>
                  </a:srgbClr>
                </a:solidFill>
                <a:latin typeface="Arial"/>
              </a:rPr>
              <a:t>1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2D759569-1F95-40A9-B53C-BFB0EAF724FB}"/>
              </a:ext>
            </a:extLst>
          </p:cNvPr>
          <p:cNvSpPr/>
          <p:nvPr/>
        </p:nvSpPr>
        <p:spPr>
          <a:xfrm flipH="1">
            <a:off x="17384" y="2032295"/>
            <a:ext cx="12174616" cy="3441096"/>
          </a:xfrm>
          <a:prstGeom prst="triangle">
            <a:avLst>
              <a:gd name="adj" fmla="val 0"/>
            </a:avLst>
          </a:prstGeom>
          <a:solidFill>
            <a:srgbClr val="FFFFFF">
              <a:alpha val="2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ounded Rectangle 38">
            <a:extLst>
              <a:ext uri="{FF2B5EF4-FFF2-40B4-BE49-F238E27FC236}">
                <a16:creationId xmlns:a16="http://schemas.microsoft.com/office/drawing/2014/main" id="{7256B0E3-3300-428E-B924-62F53B144443}"/>
              </a:ext>
            </a:extLst>
          </p:cNvPr>
          <p:cNvSpPr/>
          <p:nvPr/>
        </p:nvSpPr>
        <p:spPr>
          <a:xfrm>
            <a:off x="4391211" y="2490505"/>
            <a:ext cx="4650591" cy="511231"/>
          </a:xfrm>
          <a:prstGeom prst="roundRect">
            <a:avLst>
              <a:gd name="adj" fmla="val 50000"/>
            </a:avLst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олее 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%</a:t>
            </a: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циентов умерли в течение трех лет</a:t>
            </a:r>
            <a:r>
              <a:rPr kumimoji="0" lang="ru-RU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C50477-55B8-454C-9D40-229C11AC8EB8}"/>
              </a:ext>
            </a:extLst>
          </p:cNvPr>
          <p:cNvSpPr txBox="1"/>
          <p:nvPr/>
        </p:nvSpPr>
        <p:spPr>
          <a:xfrm>
            <a:off x="1395664" y="2815154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10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B928CBF-21A8-4C1A-A072-14CDC2C1C87E}"/>
              </a:ext>
            </a:extLst>
          </p:cNvPr>
          <p:cNvGrpSpPr/>
          <p:nvPr/>
        </p:nvGrpSpPr>
        <p:grpSpPr>
          <a:xfrm>
            <a:off x="0" y="2876113"/>
            <a:ext cx="12192000" cy="3112153"/>
            <a:chOff x="2057419" y="2806461"/>
            <a:chExt cx="8504974" cy="2841222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39EC1CD-589B-4FF8-86CC-5407C019F7A7}"/>
                </a:ext>
              </a:extLst>
            </p:cNvPr>
            <p:cNvSpPr/>
            <p:nvPr/>
          </p:nvSpPr>
          <p:spPr>
            <a:xfrm>
              <a:off x="3780198" y="2806461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43901DEA-4CCC-445B-B75D-31B307C3F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289" y="2889683"/>
              <a:ext cx="4932988" cy="1448063"/>
            </a:xfrm>
            <a:custGeom>
              <a:avLst/>
              <a:gdLst>
                <a:gd name="T0" fmla="*/ 0 w 3058"/>
                <a:gd name="T1" fmla="*/ 0 h 1123"/>
                <a:gd name="T2" fmla="*/ 310 w 3058"/>
                <a:gd name="T3" fmla="*/ 463 h 1123"/>
                <a:gd name="T4" fmla="*/ 603 w 3058"/>
                <a:gd name="T5" fmla="*/ 576 h 1123"/>
                <a:gd name="T6" fmla="*/ 912 w 3058"/>
                <a:gd name="T7" fmla="*/ 717 h 1123"/>
                <a:gd name="T8" fmla="*/ 1213 w 3058"/>
                <a:gd name="T9" fmla="*/ 773 h 1123"/>
                <a:gd name="T10" fmla="*/ 1536 w 3058"/>
                <a:gd name="T11" fmla="*/ 851 h 1123"/>
                <a:gd name="T12" fmla="*/ 1832 w 3058"/>
                <a:gd name="T13" fmla="*/ 935 h 1123"/>
                <a:gd name="T14" fmla="*/ 2139 w 3058"/>
                <a:gd name="T15" fmla="*/ 935 h 1123"/>
                <a:gd name="T16" fmla="*/ 2441 w 3058"/>
                <a:gd name="T17" fmla="*/ 982 h 1123"/>
                <a:gd name="T18" fmla="*/ 2756 w 3058"/>
                <a:gd name="T19" fmla="*/ 1027 h 1123"/>
                <a:gd name="T20" fmla="*/ 3058 w 3058"/>
                <a:gd name="T21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8" h="1123">
                  <a:moveTo>
                    <a:pt x="0" y="0"/>
                  </a:moveTo>
                  <a:lnTo>
                    <a:pt x="310" y="463"/>
                  </a:lnTo>
                  <a:lnTo>
                    <a:pt x="603" y="576"/>
                  </a:lnTo>
                  <a:lnTo>
                    <a:pt x="912" y="717"/>
                  </a:lnTo>
                  <a:lnTo>
                    <a:pt x="1213" y="773"/>
                  </a:lnTo>
                  <a:lnTo>
                    <a:pt x="1536" y="851"/>
                  </a:lnTo>
                  <a:lnTo>
                    <a:pt x="1832" y="935"/>
                  </a:lnTo>
                  <a:lnTo>
                    <a:pt x="2139" y="935"/>
                  </a:lnTo>
                  <a:lnTo>
                    <a:pt x="2441" y="982"/>
                  </a:lnTo>
                  <a:lnTo>
                    <a:pt x="2756" y="1027"/>
                  </a:lnTo>
                  <a:lnTo>
                    <a:pt x="3058" y="1123"/>
                  </a:lnTo>
                </a:path>
              </a:pathLst>
            </a:custGeom>
            <a:noFill/>
            <a:ln w="9525" cap="flat" cmpd="sng" algn="ctr">
              <a:solidFill>
                <a:srgbClr val="7E84C5">
                  <a:shade val="95000"/>
                  <a:satMod val="105000"/>
                </a:srgbClr>
              </a:solidFill>
              <a:prstDash val="solid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81022C7-39AF-474E-A4FB-35AFD0506C31}"/>
                </a:ext>
              </a:extLst>
            </p:cNvPr>
            <p:cNvSpPr/>
            <p:nvPr/>
          </p:nvSpPr>
          <p:spPr>
            <a:xfrm>
              <a:off x="4287232" y="3409084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CCD4709-83C9-46B5-89DD-74B73DC6AE32}"/>
                </a:ext>
              </a:extLst>
            </p:cNvPr>
            <p:cNvSpPr/>
            <p:nvPr/>
          </p:nvSpPr>
          <p:spPr>
            <a:xfrm>
              <a:off x="4773286" y="3579238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498543B-7659-4042-AA54-2B39C2116516}"/>
                </a:ext>
              </a:extLst>
            </p:cNvPr>
            <p:cNvSpPr/>
            <p:nvPr/>
          </p:nvSpPr>
          <p:spPr>
            <a:xfrm>
              <a:off x="5761349" y="3818167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1B4F0DF-04AD-4DAC-BB26-0A1B7CC08FF9}"/>
                </a:ext>
              </a:extLst>
            </p:cNvPr>
            <p:cNvSpPr/>
            <p:nvPr/>
          </p:nvSpPr>
          <p:spPr>
            <a:xfrm>
              <a:off x="6267018" y="3924784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02445FC-3C26-4185-886F-BF707BB27843}"/>
                </a:ext>
              </a:extLst>
            </p:cNvPr>
            <p:cNvSpPr/>
            <p:nvPr/>
          </p:nvSpPr>
          <p:spPr>
            <a:xfrm>
              <a:off x="6738372" y="4024088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2C9E9C3-DC18-4871-B73C-80603D4A07C3}"/>
                </a:ext>
              </a:extLst>
            </p:cNvPr>
            <p:cNvSpPr/>
            <p:nvPr/>
          </p:nvSpPr>
          <p:spPr>
            <a:xfrm>
              <a:off x="7240668" y="4024088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EC6EBE7-62BE-4F18-901B-ED408F267B56}"/>
                </a:ext>
              </a:extLst>
            </p:cNvPr>
            <p:cNvSpPr/>
            <p:nvPr/>
          </p:nvSpPr>
          <p:spPr>
            <a:xfrm>
              <a:off x="7712987" y="4088206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65CA814-ACE9-47F6-AC9D-4506DAD77ADC}"/>
                </a:ext>
              </a:extLst>
            </p:cNvPr>
            <p:cNvSpPr/>
            <p:nvPr/>
          </p:nvSpPr>
          <p:spPr>
            <a:xfrm>
              <a:off x="8220618" y="4147876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E60505B-F891-4546-9248-2CD117AC9A2B}"/>
                </a:ext>
              </a:extLst>
            </p:cNvPr>
            <p:cNvSpPr/>
            <p:nvPr/>
          </p:nvSpPr>
          <p:spPr>
            <a:xfrm>
              <a:off x="8704167" y="4256514"/>
              <a:ext cx="110031" cy="144000"/>
            </a:xfrm>
            <a:prstGeom prst="ellipse">
              <a:avLst/>
            </a:prstGeom>
            <a:solidFill>
              <a:srgbClr val="5160A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F2B78B7-C292-4AEE-8111-FD61DFA42A5E}"/>
                </a:ext>
              </a:extLst>
            </p:cNvPr>
            <p:cNvCxnSpPr>
              <a:cxnSpLocks/>
            </p:cNvCxnSpPr>
            <p:nvPr/>
          </p:nvCxnSpPr>
          <p:spPr>
            <a:xfrm>
              <a:off x="2057419" y="5174128"/>
              <a:ext cx="8504974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6DFF4A1-E7A5-4D0A-A048-76204F018848}"/>
                </a:ext>
              </a:extLst>
            </p:cNvPr>
            <p:cNvSpPr txBox="1"/>
            <p:nvPr/>
          </p:nvSpPr>
          <p:spPr>
            <a:xfrm>
              <a:off x="3804123" y="5264929"/>
              <a:ext cx="5416078" cy="168590"/>
            </a:xfrm>
            <a:prstGeom prst="rect">
              <a:avLst/>
            </a:prstGeom>
            <a:noFill/>
          </p:spPr>
          <p:txBody>
            <a:bodyPr wrap="square" lIns="0" tIns="0" rIns="0" bIns="0" numCol="11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0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 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1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 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2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 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3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 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4 </a:t>
              </a: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5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B2BE0A3-AB61-4C29-A474-A1D12C56EC8C}"/>
                </a:ext>
              </a:extLst>
            </p:cNvPr>
            <p:cNvSpPr txBox="1"/>
            <p:nvPr/>
          </p:nvSpPr>
          <p:spPr>
            <a:xfrm>
              <a:off x="3842083" y="5493143"/>
              <a:ext cx="4922047" cy="1545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Число лет</a:t>
              </a:r>
              <a:r>
                <a:rPr kumimoji="0" lang="ru-RU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 последующего наблюдения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62079C5-BC7C-4D20-9D13-B1992C2E139D}"/>
              </a:ext>
            </a:extLst>
          </p:cNvPr>
          <p:cNvGrpSpPr/>
          <p:nvPr/>
        </p:nvGrpSpPr>
        <p:grpSpPr>
          <a:xfrm>
            <a:off x="-1" y="2933324"/>
            <a:ext cx="1564105" cy="2217661"/>
            <a:chOff x="-1" y="2278982"/>
            <a:chExt cx="1564105" cy="221766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5C52146-2F83-449D-B8F9-5AB88E2906D8}"/>
                </a:ext>
              </a:extLst>
            </p:cNvPr>
            <p:cNvCxnSpPr/>
            <p:nvPr/>
          </p:nvCxnSpPr>
          <p:spPr>
            <a:xfrm>
              <a:off x="-1" y="2278982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FC9C5B1-4506-481B-8180-D5ADBAA4E33F}"/>
                </a:ext>
              </a:extLst>
            </p:cNvPr>
            <p:cNvCxnSpPr/>
            <p:nvPr/>
          </p:nvCxnSpPr>
          <p:spPr>
            <a:xfrm>
              <a:off x="-1" y="2506392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AB8E43D-499C-4AD1-8E69-ADD5CBD71114}"/>
                </a:ext>
              </a:extLst>
            </p:cNvPr>
            <p:cNvCxnSpPr/>
            <p:nvPr/>
          </p:nvCxnSpPr>
          <p:spPr>
            <a:xfrm>
              <a:off x="-1" y="2755174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E1D871F-0B70-4169-BCC0-3E1C8BE2F8E5}"/>
                </a:ext>
              </a:extLst>
            </p:cNvPr>
            <p:cNvCxnSpPr/>
            <p:nvPr/>
          </p:nvCxnSpPr>
          <p:spPr>
            <a:xfrm>
              <a:off x="-1" y="3003955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69AF3CC-C551-4546-AA62-8283234684AE}"/>
                </a:ext>
              </a:extLst>
            </p:cNvPr>
            <p:cNvCxnSpPr/>
            <p:nvPr/>
          </p:nvCxnSpPr>
          <p:spPr>
            <a:xfrm>
              <a:off x="-1" y="3252736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0DCCAB4-CE55-4B82-8628-F365B5E61809}"/>
                </a:ext>
              </a:extLst>
            </p:cNvPr>
            <p:cNvCxnSpPr/>
            <p:nvPr/>
          </p:nvCxnSpPr>
          <p:spPr>
            <a:xfrm>
              <a:off x="-1" y="3501518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0E77A29-47E7-47DC-B532-14EEBC3CBAC5}"/>
                </a:ext>
              </a:extLst>
            </p:cNvPr>
            <p:cNvCxnSpPr/>
            <p:nvPr/>
          </p:nvCxnSpPr>
          <p:spPr>
            <a:xfrm>
              <a:off x="-1" y="3750299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C70B5B8-C32E-4A25-AC9D-2B2E565E7566}"/>
                </a:ext>
              </a:extLst>
            </p:cNvPr>
            <p:cNvCxnSpPr/>
            <p:nvPr/>
          </p:nvCxnSpPr>
          <p:spPr>
            <a:xfrm>
              <a:off x="-1" y="3999080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6FCD0EC-CC5E-4BDC-9D42-DF64D1D143A2}"/>
                </a:ext>
              </a:extLst>
            </p:cNvPr>
            <p:cNvCxnSpPr/>
            <p:nvPr/>
          </p:nvCxnSpPr>
          <p:spPr>
            <a:xfrm>
              <a:off x="-1" y="4247862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3D095D4-F32A-405B-A56D-9A96B85900DC}"/>
                </a:ext>
              </a:extLst>
            </p:cNvPr>
            <p:cNvCxnSpPr/>
            <p:nvPr/>
          </p:nvCxnSpPr>
          <p:spPr>
            <a:xfrm>
              <a:off x="-1" y="4496643"/>
              <a:ext cx="1564105" cy="0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2CB96B2-2C01-467C-957F-CDC4E0899241}"/>
              </a:ext>
            </a:extLst>
          </p:cNvPr>
          <p:cNvCxnSpPr/>
          <p:nvPr/>
        </p:nvCxnSpPr>
        <p:spPr>
          <a:xfrm flipV="1">
            <a:off x="6794245" y="3063244"/>
            <a:ext cx="0" cy="1158094"/>
          </a:xfrm>
          <a:prstGeom prst="line">
            <a:avLst/>
          </a:prstGeom>
          <a:noFill/>
          <a:ln w="25400" cap="rnd" cmpd="sng" algn="ctr">
            <a:solidFill>
              <a:sysClr val="windowText" lastClr="000000">
                <a:lumMod val="75000"/>
                <a:lumOff val="25000"/>
              </a:sysClr>
            </a:solidFill>
            <a:prstDash val="sysDot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F1DBD86-02BB-4896-9573-53E1CCA79B7D}"/>
              </a:ext>
            </a:extLst>
          </p:cNvPr>
          <p:cNvSpPr txBox="1"/>
          <p:nvPr/>
        </p:nvSpPr>
        <p:spPr>
          <a:xfrm>
            <a:off x="1395664" y="3066409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9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DB376C7-8C9A-44DA-8240-C4A400F58207}"/>
              </a:ext>
            </a:extLst>
          </p:cNvPr>
          <p:cNvSpPr txBox="1"/>
          <p:nvPr/>
        </p:nvSpPr>
        <p:spPr>
          <a:xfrm>
            <a:off x="1395664" y="3317664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8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60FD9F9-D47A-4131-AF3B-FF6D79F174AF}"/>
              </a:ext>
            </a:extLst>
          </p:cNvPr>
          <p:cNvSpPr txBox="1"/>
          <p:nvPr/>
        </p:nvSpPr>
        <p:spPr>
          <a:xfrm>
            <a:off x="1395664" y="3568919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7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2C5F854-9352-4760-A0CA-8D00AD8BC746}"/>
              </a:ext>
            </a:extLst>
          </p:cNvPr>
          <p:cNvSpPr txBox="1"/>
          <p:nvPr/>
        </p:nvSpPr>
        <p:spPr>
          <a:xfrm>
            <a:off x="1395664" y="3820175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6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7473413-A65E-44DC-BBCB-6C7AB757B2C5}"/>
              </a:ext>
            </a:extLst>
          </p:cNvPr>
          <p:cNvSpPr/>
          <p:nvPr/>
        </p:nvSpPr>
        <p:spPr>
          <a:xfrm>
            <a:off x="4580858" y="3891142"/>
            <a:ext cx="157731" cy="157731"/>
          </a:xfrm>
          <a:prstGeom prst="ellipse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6EB8C1F-552D-4A6C-822E-2BBF62940E70}"/>
              </a:ext>
            </a:extLst>
          </p:cNvPr>
          <p:cNvSpPr txBox="1"/>
          <p:nvPr/>
        </p:nvSpPr>
        <p:spPr>
          <a:xfrm>
            <a:off x="1395664" y="4071430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5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7480877-3C25-4DC2-B9C0-388699A05B7A}"/>
              </a:ext>
            </a:extLst>
          </p:cNvPr>
          <p:cNvSpPr txBox="1"/>
          <p:nvPr/>
        </p:nvSpPr>
        <p:spPr>
          <a:xfrm rot="16200000">
            <a:off x="575133" y="4127660"/>
            <a:ext cx="2486356" cy="231749"/>
          </a:xfrm>
          <a:prstGeom prst="rect">
            <a:avLst/>
          </a:prstGeom>
          <a:noFill/>
        </p:spPr>
        <p:txBody>
          <a:bodyPr wrap="square" lIns="180000" tIns="0" rIns="0" bIns="0" rtlCol="0">
            <a:noAutofit/>
          </a:bodyPr>
          <a:lstStyle>
            <a:defPPr>
              <a:defRPr lang="ru-RU"/>
            </a:defPPr>
            <a:lvl1pPr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1219170">
              <a:defRPr/>
            </a:pPr>
            <a:r>
              <a:rPr lang="ru-RU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роцент выживших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008E399-629C-4FC3-8327-74366909C58B}"/>
              </a:ext>
            </a:extLst>
          </p:cNvPr>
          <p:cNvSpPr txBox="1"/>
          <p:nvPr/>
        </p:nvSpPr>
        <p:spPr>
          <a:xfrm>
            <a:off x="1395664" y="4322685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4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FA75E91-3D0A-4BB5-9ACA-B25F356D65FB}"/>
              </a:ext>
            </a:extLst>
          </p:cNvPr>
          <p:cNvSpPr txBox="1"/>
          <p:nvPr/>
        </p:nvSpPr>
        <p:spPr>
          <a:xfrm>
            <a:off x="1395664" y="4573940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3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4AABE4C-17EB-4966-A7BE-3719F88EC82A}"/>
              </a:ext>
            </a:extLst>
          </p:cNvPr>
          <p:cNvSpPr txBox="1"/>
          <p:nvPr/>
        </p:nvSpPr>
        <p:spPr>
          <a:xfrm>
            <a:off x="1395664" y="4825195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2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070C17-1234-4957-958E-BF8796D1CD95}"/>
              </a:ext>
            </a:extLst>
          </p:cNvPr>
          <p:cNvSpPr txBox="1"/>
          <p:nvPr/>
        </p:nvSpPr>
        <p:spPr>
          <a:xfrm>
            <a:off x="1395664" y="5076446"/>
            <a:ext cx="854242" cy="1873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defRPr/>
            </a:pPr>
            <a:r>
              <a:rPr lang="ru-RU" sz="1200">
                <a:solidFill>
                  <a:prstClr val="black"/>
                </a:solidFill>
                <a:latin typeface="Arial"/>
              </a:rPr>
              <a:t>10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197B604A-0B3F-48B7-BC32-485920B70ED2}"/>
              </a:ext>
            </a:extLst>
          </p:cNvPr>
          <p:cNvCxnSpPr/>
          <p:nvPr/>
        </p:nvCxnSpPr>
        <p:spPr>
          <a:xfrm flipV="1">
            <a:off x="2538662" y="5815889"/>
            <a:ext cx="0" cy="204537"/>
          </a:xfrm>
          <a:prstGeom prst="straightConnector1">
            <a:avLst/>
          </a:prstGeom>
          <a:noFill/>
          <a:ln w="28575" cap="flat" cmpd="sng" algn="ctr">
            <a:solidFill>
              <a:srgbClr val="808285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66E43076-768E-47F8-85AB-6FFDEC3F17E5}"/>
              </a:ext>
            </a:extLst>
          </p:cNvPr>
          <p:cNvSpPr txBox="1"/>
          <p:nvPr/>
        </p:nvSpPr>
        <p:spPr>
          <a:xfrm>
            <a:off x="1455676" y="6033260"/>
            <a:ext cx="234336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1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Момент постановки диагноза</a:t>
            </a:r>
            <a:endParaRPr lang="ru-RU" sz="1100" dirty="0">
              <a:solidFill>
                <a:prstClr val="black">
                  <a:lumMod val="75000"/>
                  <a:lumOff val="25000"/>
                </a:prstClr>
              </a:solidFill>
              <a:latin typeface="Arial"/>
            </a:endParaRP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E4BA3F98-94D0-4111-B920-EEECBB28EDE6}"/>
              </a:ext>
            </a:extLst>
          </p:cNvPr>
          <p:cNvSpPr txBox="1">
            <a:spLocks/>
          </p:cNvSpPr>
          <p:nvPr/>
        </p:nvSpPr>
        <p:spPr>
          <a:xfrm>
            <a:off x="123647" y="6484583"/>
            <a:ext cx="7764024" cy="2984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 основании когорты из 195 пациентов с первичной ЛАГ, набранных в период с 1981 по 1985 год, до проведения терапии по поводу ЛАГ</a:t>
            </a:r>
            <a:r>
              <a:rPr kumimoji="0" lang="ru-RU" sz="900" b="0" i="0" u="none" strike="noStrike" kern="1200" cap="none" spc="0" normalizeH="0" baseline="3000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6F42A72-D40F-4F39-8191-815C6B818459}"/>
              </a:ext>
            </a:extLst>
          </p:cNvPr>
          <p:cNvSpPr/>
          <p:nvPr/>
        </p:nvSpPr>
        <p:spPr>
          <a:xfrm>
            <a:off x="94019" y="1042935"/>
            <a:ext cx="11880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при ЛАГ остаётся крайне неблагоприятным при отсутствии лечения </a:t>
            </a:r>
          </a:p>
        </p:txBody>
      </p:sp>
    </p:spTree>
    <p:extLst>
      <p:ext uri="{BB962C8B-B14F-4D97-AF65-F5344CB8AC3E}">
        <p14:creationId xmlns:p14="http://schemas.microsoft.com/office/powerpoint/2010/main" val="643588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00">
            <a:extLst>
              <a:ext uri="{FF2B5EF4-FFF2-40B4-BE49-F238E27FC236}">
                <a16:creationId xmlns:a16="http://schemas.microsoft.com/office/drawing/2014/main" id="{8026DCC7-F925-455F-8A46-BDE000D022D4}"/>
              </a:ext>
            </a:extLst>
          </p:cNvPr>
          <p:cNvSpPr/>
          <p:nvPr/>
        </p:nvSpPr>
        <p:spPr>
          <a:xfrm>
            <a:off x="-36816" y="1899120"/>
            <a:ext cx="12192000" cy="4607435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42A5800-9968-41D4-8360-8AF8A2CEFA97}"/>
              </a:ext>
            </a:extLst>
          </p:cNvPr>
          <p:cNvSpPr txBox="1"/>
          <p:nvPr/>
        </p:nvSpPr>
        <p:spPr>
          <a:xfrm>
            <a:off x="6241167" y="1879891"/>
            <a:ext cx="57768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Несмотря на лечение, прогнозируемая выживаемость при ЛАГ ниже, чем при некоторых видах рака</a:t>
            </a:r>
            <a:r>
              <a:rPr lang="ru-RU" sz="1600" b="1" baseline="30000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3,6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ABB1A39-ABD2-4FCF-A83B-D76025525652}"/>
              </a:ext>
            </a:extLst>
          </p:cNvPr>
          <p:cNvSpPr txBox="1"/>
          <p:nvPr/>
        </p:nvSpPr>
        <p:spPr>
          <a:xfrm>
            <a:off x="338928" y="1927610"/>
            <a:ext cx="54008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Появление препаратов для лечения ЛАГ увеличило ожидания 3-летней выживаемости</a:t>
            </a:r>
            <a:r>
              <a:rPr lang="ru-RU" sz="1600" b="1" baseline="30000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1-5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FE1627E-C1CE-4681-A255-8FD70E63B3E0}"/>
              </a:ext>
            </a:extLst>
          </p:cNvPr>
          <p:cNvGrpSpPr/>
          <p:nvPr/>
        </p:nvGrpSpPr>
        <p:grpSpPr>
          <a:xfrm>
            <a:off x="6021034" y="2674744"/>
            <a:ext cx="5670233" cy="3129270"/>
            <a:chOff x="6546193" y="2500019"/>
            <a:chExt cx="5202895" cy="2871357"/>
          </a:xfrm>
        </p:grpSpPr>
        <p:sp>
          <p:nvSpPr>
            <p:cNvPr id="105" name="Rectangle 12">
              <a:extLst>
                <a:ext uri="{FF2B5EF4-FFF2-40B4-BE49-F238E27FC236}">
                  <a16:creationId xmlns:a16="http://schemas.microsoft.com/office/drawing/2014/main" id="{6CBD005F-AF78-4CCF-8A4F-122ECD8F8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2505076"/>
              <a:ext cx="652463" cy="188913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68424112-466B-40E8-983E-0F1B14E3024F}"/>
                </a:ext>
              </a:extLst>
            </p:cNvPr>
            <p:cNvSpPr txBox="1"/>
            <p:nvPr/>
          </p:nvSpPr>
          <p:spPr>
            <a:xfrm>
              <a:off x="8157469" y="2500019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18%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50E89B8-BD0E-414D-AE44-8886B966656F}"/>
                </a:ext>
              </a:extLst>
            </p:cNvPr>
            <p:cNvSpPr txBox="1"/>
            <p:nvPr/>
          </p:nvSpPr>
          <p:spPr>
            <a:xfrm>
              <a:off x="6546193" y="2531974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Рак легких/бронхов</a:t>
              </a:r>
            </a:p>
          </p:txBody>
        </p:sp>
        <p:sp>
          <p:nvSpPr>
            <p:cNvPr id="108" name="Rectangle 13">
              <a:extLst>
                <a:ext uri="{FF2B5EF4-FFF2-40B4-BE49-F238E27FC236}">
                  <a16:creationId xmlns:a16="http://schemas.microsoft.com/office/drawing/2014/main" id="{C44CD059-43EC-491E-8C2A-F3E37A4F3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2771776"/>
              <a:ext cx="973138" cy="188913"/>
            </a:xfrm>
            <a:prstGeom prst="rect">
              <a:avLst/>
            </a:prstGeom>
            <a:solidFill>
              <a:srgbClr val="7E84C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8467E6D6-B3AC-4E37-A668-6B75B2372102}"/>
                </a:ext>
              </a:extLst>
            </p:cNvPr>
            <p:cNvSpPr txBox="1"/>
            <p:nvPr/>
          </p:nvSpPr>
          <p:spPr>
            <a:xfrm>
              <a:off x="8478144" y="2773158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27%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516A229-5A1F-495C-9392-B1005A169EF4}"/>
                </a:ext>
              </a:extLst>
            </p:cNvPr>
            <p:cNvSpPr txBox="1"/>
            <p:nvPr/>
          </p:nvSpPr>
          <p:spPr>
            <a:xfrm>
              <a:off x="6546193" y="2797428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ЛАГ IV ФК ПО ВОЗ</a:t>
              </a:r>
            </a:p>
          </p:txBody>
        </p:sp>
        <p:sp>
          <p:nvSpPr>
            <p:cNvPr id="111" name="Rectangle 14">
              <a:extLst>
                <a:ext uri="{FF2B5EF4-FFF2-40B4-BE49-F238E27FC236}">
                  <a16:creationId xmlns:a16="http://schemas.microsoft.com/office/drawing/2014/main" id="{19F0D449-36E3-4F9D-8897-764AB27D0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3030538"/>
              <a:ext cx="1625600" cy="196850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4461D21-9CA9-44EB-A92D-39F57DCA3C51}"/>
                </a:ext>
              </a:extLst>
            </p:cNvPr>
            <p:cNvSpPr txBox="1"/>
            <p:nvPr/>
          </p:nvSpPr>
          <p:spPr>
            <a:xfrm>
              <a:off x="9128919" y="3033304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45%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1BA009D-4244-4D1C-AF87-0537580B153A}"/>
                </a:ext>
              </a:extLst>
            </p:cNvPr>
            <p:cNvSpPr txBox="1"/>
            <p:nvPr/>
          </p:nvSpPr>
          <p:spPr>
            <a:xfrm>
              <a:off x="6584836" y="3041515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Рак яичников</a:t>
              </a:r>
            </a:p>
          </p:txBody>
        </p:sp>
        <p:sp>
          <p:nvSpPr>
            <p:cNvPr id="114" name="Rectangle 15">
              <a:extLst>
                <a:ext uri="{FF2B5EF4-FFF2-40B4-BE49-F238E27FC236}">
                  <a16:creationId xmlns:a16="http://schemas.microsoft.com/office/drawing/2014/main" id="{57BF3D5B-2B53-4621-BD34-0D4979237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3298826"/>
              <a:ext cx="2049463" cy="187325"/>
            </a:xfrm>
            <a:prstGeom prst="rect">
              <a:avLst/>
            </a:prstGeom>
            <a:solidFill>
              <a:srgbClr val="7E84C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73007B5-E43B-4E80-B1EE-F20EBE402430}"/>
                </a:ext>
              </a:extLst>
            </p:cNvPr>
            <p:cNvSpPr txBox="1"/>
            <p:nvPr/>
          </p:nvSpPr>
          <p:spPr>
            <a:xfrm>
              <a:off x="9554469" y="3302532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57%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DCFFDB99-D5C3-440D-9DD5-B8220BC3B750}"/>
                </a:ext>
              </a:extLst>
            </p:cNvPr>
            <p:cNvSpPr txBox="1"/>
            <p:nvPr/>
          </p:nvSpPr>
          <p:spPr>
            <a:xfrm>
              <a:off x="6584836" y="3306969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ЛАГ III ФК ПО ВОЗ</a:t>
              </a:r>
            </a:p>
          </p:txBody>
        </p:sp>
        <p:sp>
          <p:nvSpPr>
            <p:cNvPr id="117" name="Rectangle 16">
              <a:extLst>
                <a:ext uri="{FF2B5EF4-FFF2-40B4-BE49-F238E27FC236}">
                  <a16:creationId xmlns:a16="http://schemas.microsoft.com/office/drawing/2014/main" id="{1F7B0F90-DADD-49F9-B13D-B773C3566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3565526"/>
              <a:ext cx="2339975" cy="187325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8640CCE-4ADA-4899-A268-9224664250BA}"/>
                </a:ext>
              </a:extLst>
            </p:cNvPr>
            <p:cNvSpPr txBox="1"/>
            <p:nvPr/>
          </p:nvSpPr>
          <p:spPr>
            <a:xfrm>
              <a:off x="9846972" y="3569785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65%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E3621BAB-E08C-479E-8869-144DD6AEEC72}"/>
                </a:ext>
              </a:extLst>
            </p:cNvPr>
            <p:cNvSpPr txBox="1"/>
            <p:nvPr/>
          </p:nvSpPr>
          <p:spPr>
            <a:xfrm>
              <a:off x="6584836" y="3602207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Рак толстой кишки</a:t>
              </a:r>
            </a:p>
          </p:txBody>
        </p:sp>
        <p:sp>
          <p:nvSpPr>
            <p:cNvPr id="120" name="Rectangle 17">
              <a:extLst>
                <a:ext uri="{FF2B5EF4-FFF2-40B4-BE49-F238E27FC236}">
                  <a16:creationId xmlns:a16="http://schemas.microsoft.com/office/drawing/2014/main" id="{B89775A7-0735-4FE6-8848-69CA42623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3832226"/>
              <a:ext cx="2449513" cy="188913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831A3355-8FD3-42CE-8F7C-1FE19A2435DE}"/>
                </a:ext>
              </a:extLst>
            </p:cNvPr>
            <p:cNvSpPr txBox="1"/>
            <p:nvPr/>
          </p:nvSpPr>
          <p:spPr>
            <a:xfrm>
              <a:off x="9954519" y="3839521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68%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B0D9CC2D-6420-4768-A411-1317F9D9B7D1}"/>
                </a:ext>
              </a:extLst>
            </p:cNvPr>
            <p:cNvSpPr txBox="1"/>
            <p:nvPr/>
          </p:nvSpPr>
          <p:spPr>
            <a:xfrm>
              <a:off x="6584836" y="3867661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Рак прямой кишки</a:t>
              </a:r>
            </a:p>
          </p:txBody>
        </p:sp>
        <p:sp>
          <p:nvSpPr>
            <p:cNvPr id="123" name="Rectangle 18">
              <a:extLst>
                <a:ext uri="{FF2B5EF4-FFF2-40B4-BE49-F238E27FC236}">
                  <a16:creationId xmlns:a16="http://schemas.microsoft.com/office/drawing/2014/main" id="{134ACF70-0B2A-4790-B788-33BE4B4AF4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4090988"/>
              <a:ext cx="2559050" cy="196850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7CF3F6B0-A966-45D3-BCCB-AD6E0476874B}"/>
                </a:ext>
              </a:extLst>
            </p:cNvPr>
            <p:cNvSpPr txBox="1"/>
            <p:nvPr/>
          </p:nvSpPr>
          <p:spPr>
            <a:xfrm>
              <a:off x="10067306" y="4096903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71%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90EACAA1-80A9-4BF0-888F-DB14D6D6B3E9}"/>
                </a:ext>
              </a:extLst>
            </p:cNvPr>
            <p:cNvSpPr txBox="1"/>
            <p:nvPr/>
          </p:nvSpPr>
          <p:spPr>
            <a:xfrm>
              <a:off x="6584836" y="4098539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Неходжкинская лимфома</a:t>
              </a:r>
            </a:p>
          </p:txBody>
        </p:sp>
        <p:sp>
          <p:nvSpPr>
            <p:cNvPr id="126" name="Rectangle 19">
              <a:extLst>
                <a:ext uri="{FF2B5EF4-FFF2-40B4-BE49-F238E27FC236}">
                  <a16:creationId xmlns:a16="http://schemas.microsoft.com/office/drawing/2014/main" id="{6B4EE14E-A705-4371-8EA2-C8001E01F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4357688"/>
              <a:ext cx="2732088" cy="196850"/>
            </a:xfrm>
            <a:prstGeom prst="rect">
              <a:avLst/>
            </a:prstGeom>
            <a:solidFill>
              <a:srgbClr val="7E84C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240BE15A-C80C-4E21-A915-D3184ABFAB31}"/>
                </a:ext>
              </a:extLst>
            </p:cNvPr>
            <p:cNvSpPr txBox="1"/>
            <p:nvPr/>
          </p:nvSpPr>
          <p:spPr>
            <a:xfrm>
              <a:off x="10237094" y="4363038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76%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8D29A666-623D-499C-8631-1F3E766E6268}"/>
                </a:ext>
              </a:extLst>
            </p:cNvPr>
            <p:cNvSpPr txBox="1"/>
            <p:nvPr/>
          </p:nvSpPr>
          <p:spPr>
            <a:xfrm>
              <a:off x="6584836" y="4363993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ЛАГ II ФК ПО ВОЗ</a:t>
              </a:r>
            </a:p>
          </p:txBody>
        </p:sp>
        <p:sp>
          <p:nvSpPr>
            <p:cNvPr id="129" name="Rectangle 20">
              <a:extLst>
                <a:ext uri="{FF2B5EF4-FFF2-40B4-BE49-F238E27FC236}">
                  <a16:creationId xmlns:a16="http://schemas.microsoft.com/office/drawing/2014/main" id="{2285A0EB-3DB6-4612-89EA-705752505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4625976"/>
              <a:ext cx="3163888" cy="187325"/>
            </a:xfrm>
            <a:prstGeom prst="rect">
              <a:avLst/>
            </a:prstGeom>
            <a:solidFill>
              <a:srgbClr val="7E84C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18089225-7409-43BB-96DE-B66F8A747E13}"/>
                </a:ext>
              </a:extLst>
            </p:cNvPr>
            <p:cNvSpPr txBox="1"/>
            <p:nvPr/>
          </p:nvSpPr>
          <p:spPr>
            <a:xfrm>
              <a:off x="10668894" y="4626564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88%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535942CC-E027-4EC2-B2BB-E1905F0F2BDC}"/>
                </a:ext>
              </a:extLst>
            </p:cNvPr>
            <p:cNvSpPr txBox="1"/>
            <p:nvPr/>
          </p:nvSpPr>
          <p:spPr>
            <a:xfrm>
              <a:off x="6581199" y="4627681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ЛАГ I ФК ПО ВОЗ</a:t>
              </a:r>
            </a:p>
          </p:txBody>
        </p:sp>
        <p:sp>
          <p:nvSpPr>
            <p:cNvPr id="132" name="Rectangle 21">
              <a:extLst>
                <a:ext uri="{FF2B5EF4-FFF2-40B4-BE49-F238E27FC236}">
                  <a16:creationId xmlns:a16="http://schemas.microsoft.com/office/drawing/2014/main" id="{69383F1E-56B9-4F46-85FD-DD63A91E2B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4163" y="4892676"/>
              <a:ext cx="3273425" cy="187325"/>
            </a:xfrm>
            <a:prstGeom prst="rect">
              <a:avLst/>
            </a:prstGeom>
            <a:solidFill>
              <a:srgbClr val="7E84C5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16711B9-1362-4102-BAAB-D093E0A71F1F}"/>
                </a:ext>
              </a:extLst>
            </p:cNvPr>
            <p:cNvSpPr txBox="1"/>
            <p:nvPr/>
          </p:nvSpPr>
          <p:spPr>
            <a:xfrm>
              <a:off x="6581199" y="4893135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Рак молочной железы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28A9E1D-73DF-43C4-BAFB-9F26DDB1E840}"/>
                </a:ext>
              </a:extLst>
            </p:cNvPr>
            <p:cNvSpPr txBox="1"/>
            <p:nvPr/>
          </p:nvSpPr>
          <p:spPr>
            <a:xfrm>
              <a:off x="10785475" y="4898403"/>
              <a:ext cx="399157" cy="18614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91%</a:t>
              </a: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id="{7624254D-5849-4FBA-809C-60A4F5192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4163" y="5143501"/>
              <a:ext cx="3595688" cy="55563"/>
            </a:xfrm>
            <a:custGeom>
              <a:avLst/>
              <a:gdLst>
                <a:gd name="T0" fmla="*/ 2265 w 2265"/>
                <a:gd name="T1" fmla="*/ 35 h 35"/>
                <a:gd name="T2" fmla="*/ 2265 w 2265"/>
                <a:gd name="T3" fmla="*/ 0 h 35"/>
                <a:gd name="T4" fmla="*/ 0 w 2265"/>
                <a:gd name="T5" fmla="*/ 0 h 35"/>
                <a:gd name="T6" fmla="*/ 0 w 2265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5" h="35">
                  <a:moveTo>
                    <a:pt x="2265" y="35"/>
                  </a:moveTo>
                  <a:lnTo>
                    <a:pt x="2265" y="0"/>
                  </a:lnTo>
                  <a:lnTo>
                    <a:pt x="0" y="0"/>
                  </a:lnTo>
                  <a:lnTo>
                    <a:pt x="0" y="35"/>
                  </a:lnTo>
                </a:path>
              </a:pathLst>
            </a:custGeom>
            <a:noFill/>
            <a:ln w="7938" cap="flat">
              <a:solidFill>
                <a:srgbClr val="80828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3CE60CC6-850D-4A06-B830-C646AB29B932}"/>
                </a:ext>
              </a:extLst>
            </p:cNvPr>
            <p:cNvSpPr txBox="1"/>
            <p:nvPr/>
          </p:nvSpPr>
          <p:spPr>
            <a:xfrm>
              <a:off x="11349931" y="5194976"/>
              <a:ext cx="399157" cy="106601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</a:rPr>
                <a:t>100%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F235A10-CF27-4FC1-B706-695020A4F7EB}"/>
                </a:ext>
              </a:extLst>
            </p:cNvPr>
            <p:cNvSpPr txBox="1"/>
            <p:nvPr/>
          </p:nvSpPr>
          <p:spPr>
            <a:xfrm>
              <a:off x="7758312" y="5204771"/>
              <a:ext cx="399157" cy="106601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50%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2B6C87D8-0C45-49A5-AB17-17EAD9739B88}"/>
                </a:ext>
              </a:extLst>
            </p:cNvPr>
            <p:cNvSpPr txBox="1"/>
            <p:nvPr/>
          </p:nvSpPr>
          <p:spPr>
            <a:xfrm>
              <a:off x="7723482" y="5153749"/>
              <a:ext cx="3634787" cy="217627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</a:rPr>
                <a:t>5-</a:t>
              </a:r>
              <a:r>
                <a:rPr kumimoji="0" lang="ru-RU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</a:rPr>
                <a:t>летняя выживаемость (%)</a:t>
              </a:r>
            </a:p>
          </p:txBody>
        </p:sp>
      </p:grpSp>
      <p:sp>
        <p:nvSpPr>
          <p:cNvPr id="140" name="Freeform: Shape 16">
            <a:extLst>
              <a:ext uri="{FF2B5EF4-FFF2-40B4-BE49-F238E27FC236}">
                <a16:creationId xmlns:a16="http://schemas.microsoft.com/office/drawing/2014/main" id="{C344BF8F-D685-4F67-BC02-7B50522215D8}"/>
              </a:ext>
            </a:extLst>
          </p:cNvPr>
          <p:cNvSpPr/>
          <p:nvPr/>
        </p:nvSpPr>
        <p:spPr>
          <a:xfrm>
            <a:off x="4395292" y="3171223"/>
            <a:ext cx="1344477" cy="2422138"/>
          </a:xfrm>
          <a:custGeom>
            <a:avLst/>
            <a:gdLst>
              <a:gd name="connsiteX0" fmla="*/ 0 w 1604467"/>
              <a:gd name="connsiteY0" fmla="*/ 0 h 2903918"/>
              <a:gd name="connsiteX1" fmla="*/ 1604467 w 1604467"/>
              <a:gd name="connsiteY1" fmla="*/ 0 h 2903918"/>
              <a:gd name="connsiteX2" fmla="*/ 1604467 w 1604467"/>
              <a:gd name="connsiteY2" fmla="*/ 2903918 h 2903918"/>
              <a:gd name="connsiteX3" fmla="*/ 0 w 1604467"/>
              <a:gd name="connsiteY3" fmla="*/ 2903918 h 2903918"/>
              <a:gd name="connsiteX4" fmla="*/ 0 w 1604467"/>
              <a:gd name="connsiteY4" fmla="*/ 0 h 290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467" h="2903918">
                <a:moveTo>
                  <a:pt x="0" y="0"/>
                </a:moveTo>
                <a:lnTo>
                  <a:pt x="1604467" y="0"/>
                </a:lnTo>
                <a:lnTo>
                  <a:pt x="1604467" y="2903918"/>
                </a:lnTo>
                <a:lnTo>
                  <a:pt x="0" y="290391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230255" tIns="0" rIns="0" bIns="0" numCol="1" spcCol="1270" anchor="t" anchorCtr="0">
            <a:noAutofit/>
          </a:bodyPr>
          <a:lstStyle/>
          <a:p>
            <a:pPr marL="0" marR="0" lvl="0" indent="0" defTabSz="28892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65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Freeform: Shape 14">
            <a:extLst>
              <a:ext uri="{FF2B5EF4-FFF2-40B4-BE49-F238E27FC236}">
                <a16:creationId xmlns:a16="http://schemas.microsoft.com/office/drawing/2014/main" id="{762206F1-9358-4431-A825-36A17EB97FFF}"/>
              </a:ext>
            </a:extLst>
          </p:cNvPr>
          <p:cNvSpPr/>
          <p:nvPr/>
        </p:nvSpPr>
        <p:spPr>
          <a:xfrm>
            <a:off x="2798726" y="3697471"/>
            <a:ext cx="1344477" cy="1895889"/>
          </a:xfrm>
          <a:custGeom>
            <a:avLst/>
            <a:gdLst>
              <a:gd name="connsiteX0" fmla="*/ 0 w 1604467"/>
              <a:gd name="connsiteY0" fmla="*/ 0 h 2272995"/>
              <a:gd name="connsiteX1" fmla="*/ 1604467 w 1604467"/>
              <a:gd name="connsiteY1" fmla="*/ 0 h 2272995"/>
              <a:gd name="connsiteX2" fmla="*/ 1604467 w 1604467"/>
              <a:gd name="connsiteY2" fmla="*/ 2272995 h 2272995"/>
              <a:gd name="connsiteX3" fmla="*/ 0 w 1604467"/>
              <a:gd name="connsiteY3" fmla="*/ 2272995 h 2272995"/>
              <a:gd name="connsiteX4" fmla="*/ 0 w 1604467"/>
              <a:gd name="connsiteY4" fmla="*/ 0 h 2272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467" h="2272995">
                <a:moveTo>
                  <a:pt x="0" y="0"/>
                </a:moveTo>
                <a:lnTo>
                  <a:pt x="1604467" y="0"/>
                </a:lnTo>
                <a:lnTo>
                  <a:pt x="1604467" y="2272995"/>
                </a:lnTo>
                <a:lnTo>
                  <a:pt x="0" y="227299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166492" tIns="0" rIns="0" bIns="0" numCol="1" spcCol="1270" anchor="t" anchorCtr="0">
            <a:noAutofit/>
          </a:bodyPr>
          <a:lstStyle/>
          <a:p>
            <a:pPr marL="0" marR="0" lvl="0" indent="0" defTabSz="28892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65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Freeform: Shape 12">
            <a:extLst>
              <a:ext uri="{FF2B5EF4-FFF2-40B4-BE49-F238E27FC236}">
                <a16:creationId xmlns:a16="http://schemas.microsoft.com/office/drawing/2014/main" id="{D770DDE9-D557-415B-BA3C-79690B2A503F}"/>
              </a:ext>
            </a:extLst>
          </p:cNvPr>
          <p:cNvSpPr/>
          <p:nvPr/>
        </p:nvSpPr>
        <p:spPr>
          <a:xfrm>
            <a:off x="1454249" y="4586169"/>
            <a:ext cx="1305263" cy="1007191"/>
          </a:xfrm>
          <a:custGeom>
            <a:avLst/>
            <a:gdLst>
              <a:gd name="connsiteX0" fmla="*/ 0 w 1557670"/>
              <a:gd name="connsiteY0" fmla="*/ 0 h 1207528"/>
              <a:gd name="connsiteX1" fmla="*/ 1557670 w 1557670"/>
              <a:gd name="connsiteY1" fmla="*/ 0 h 1207528"/>
              <a:gd name="connsiteX2" fmla="*/ 1557670 w 1557670"/>
              <a:gd name="connsiteY2" fmla="*/ 1207528 h 1207528"/>
              <a:gd name="connsiteX3" fmla="*/ 0 w 1557670"/>
              <a:gd name="connsiteY3" fmla="*/ 1207528 h 1207528"/>
              <a:gd name="connsiteX4" fmla="*/ 0 w 1557670"/>
              <a:gd name="connsiteY4" fmla="*/ 0 h 1207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670" h="1207528">
                <a:moveTo>
                  <a:pt x="0" y="0"/>
                </a:moveTo>
                <a:lnTo>
                  <a:pt x="1557670" y="0"/>
                </a:lnTo>
                <a:lnTo>
                  <a:pt x="1557670" y="1207528"/>
                </a:lnTo>
                <a:lnTo>
                  <a:pt x="0" y="120752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92102" tIns="0" rIns="0" bIns="0" numCol="1" spcCol="1270" anchor="t" anchorCtr="0">
            <a:noAutofit/>
          </a:bodyPr>
          <a:lstStyle/>
          <a:p>
            <a:pPr marL="0" marR="0" lvl="0" indent="0" defTabSz="2222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5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Text Placeholder 10">
            <a:extLst>
              <a:ext uri="{FF2B5EF4-FFF2-40B4-BE49-F238E27FC236}">
                <a16:creationId xmlns:a16="http://schemas.microsoft.com/office/drawing/2014/main" id="{4D1C41B7-9050-4FB4-B982-2CC1D3B00CA9}"/>
              </a:ext>
            </a:extLst>
          </p:cNvPr>
          <p:cNvSpPr txBox="1">
            <a:spLocks/>
          </p:cNvSpPr>
          <p:nvPr/>
        </p:nvSpPr>
        <p:spPr>
          <a:xfrm>
            <a:off x="1322626" y="5050604"/>
            <a:ext cx="3923630" cy="3635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ценка выживаемости основана на популяции пациентов с впервые выявленной ЛАГ</a:t>
            </a:r>
            <a:endParaRPr kumimoji="0" lang="ru-RU" sz="1200" i="1" u="none" strike="noStrike" kern="1200" cap="none" spc="0" normalizeH="0" baseline="3000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15AC9064-5E0D-47E7-A1AD-D202A4CE05F1}"/>
              </a:ext>
            </a:extLst>
          </p:cNvPr>
          <p:cNvGrpSpPr/>
          <p:nvPr/>
        </p:nvGrpSpPr>
        <p:grpSpPr>
          <a:xfrm>
            <a:off x="220871" y="4985601"/>
            <a:ext cx="981289" cy="1602188"/>
            <a:chOff x="169536" y="4558516"/>
            <a:chExt cx="802857" cy="1389612"/>
          </a:xfrm>
          <a:solidFill>
            <a:srgbClr val="FFFFFF"/>
          </a:solidFill>
        </p:grpSpPr>
        <p:sp>
          <p:nvSpPr>
            <p:cNvPr id="145" name="Freeform 6">
              <a:extLst>
                <a:ext uri="{FF2B5EF4-FFF2-40B4-BE49-F238E27FC236}">
                  <a16:creationId xmlns:a16="http://schemas.microsoft.com/office/drawing/2014/main" id="{66343DBA-55A7-48D7-9846-A5E17BDAF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536" y="4558516"/>
              <a:ext cx="496657" cy="1389612"/>
            </a:xfrm>
            <a:custGeom>
              <a:avLst/>
              <a:gdLst>
                <a:gd name="T0" fmla="*/ 590 w 779"/>
                <a:gd name="T1" fmla="*/ 200 h 2181"/>
                <a:gd name="T2" fmla="*/ 390 w 779"/>
                <a:gd name="T3" fmla="*/ 400 h 2181"/>
                <a:gd name="T4" fmla="*/ 189 w 779"/>
                <a:gd name="T5" fmla="*/ 200 h 2181"/>
                <a:gd name="T6" fmla="*/ 390 w 779"/>
                <a:gd name="T7" fmla="*/ 0 h 2181"/>
                <a:gd name="T8" fmla="*/ 590 w 779"/>
                <a:gd name="T9" fmla="*/ 200 h 2181"/>
                <a:gd name="T10" fmla="*/ 548 w 779"/>
                <a:gd name="T11" fmla="*/ 441 h 2181"/>
                <a:gd name="T12" fmla="*/ 231 w 779"/>
                <a:gd name="T13" fmla="*/ 441 h 2181"/>
                <a:gd name="T14" fmla="*/ 10 w 779"/>
                <a:gd name="T15" fmla="*/ 681 h 2181"/>
                <a:gd name="T16" fmla="*/ 67 w 779"/>
                <a:gd name="T17" fmla="*/ 1402 h 2181"/>
                <a:gd name="T18" fmla="*/ 189 w 779"/>
                <a:gd name="T19" fmla="*/ 1539 h 2181"/>
                <a:gd name="T20" fmla="*/ 189 w 779"/>
                <a:gd name="T21" fmla="*/ 2181 h 2181"/>
                <a:gd name="T22" fmla="*/ 590 w 779"/>
                <a:gd name="T23" fmla="*/ 2181 h 2181"/>
                <a:gd name="T24" fmla="*/ 590 w 779"/>
                <a:gd name="T25" fmla="*/ 1539 h 2181"/>
                <a:gd name="T26" fmla="*/ 712 w 779"/>
                <a:gd name="T27" fmla="*/ 1402 h 2181"/>
                <a:gd name="T28" fmla="*/ 769 w 779"/>
                <a:gd name="T29" fmla="*/ 681 h 2181"/>
                <a:gd name="T30" fmla="*/ 548 w 779"/>
                <a:gd name="T31" fmla="*/ 441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9" h="2181">
                  <a:moveTo>
                    <a:pt x="590" y="200"/>
                  </a:moveTo>
                  <a:cubicBezTo>
                    <a:pt x="590" y="310"/>
                    <a:pt x="500" y="400"/>
                    <a:pt x="390" y="400"/>
                  </a:cubicBezTo>
                  <a:cubicBezTo>
                    <a:pt x="279" y="400"/>
                    <a:pt x="189" y="310"/>
                    <a:pt x="189" y="200"/>
                  </a:cubicBezTo>
                  <a:cubicBezTo>
                    <a:pt x="189" y="90"/>
                    <a:pt x="279" y="0"/>
                    <a:pt x="390" y="0"/>
                  </a:cubicBezTo>
                  <a:cubicBezTo>
                    <a:pt x="500" y="0"/>
                    <a:pt x="590" y="90"/>
                    <a:pt x="590" y="200"/>
                  </a:cubicBezTo>
                  <a:close/>
                  <a:moveTo>
                    <a:pt x="548" y="441"/>
                  </a:moveTo>
                  <a:cubicBezTo>
                    <a:pt x="231" y="441"/>
                    <a:pt x="231" y="441"/>
                    <a:pt x="231" y="441"/>
                  </a:cubicBezTo>
                  <a:cubicBezTo>
                    <a:pt x="102" y="441"/>
                    <a:pt x="0" y="552"/>
                    <a:pt x="10" y="681"/>
                  </a:cubicBezTo>
                  <a:cubicBezTo>
                    <a:pt x="67" y="1402"/>
                    <a:pt x="67" y="1402"/>
                    <a:pt x="67" y="1402"/>
                  </a:cubicBezTo>
                  <a:cubicBezTo>
                    <a:pt x="72" y="1471"/>
                    <a:pt x="124" y="1526"/>
                    <a:pt x="189" y="1539"/>
                  </a:cubicBezTo>
                  <a:cubicBezTo>
                    <a:pt x="189" y="2181"/>
                    <a:pt x="189" y="2181"/>
                    <a:pt x="189" y="2181"/>
                  </a:cubicBezTo>
                  <a:cubicBezTo>
                    <a:pt x="590" y="2181"/>
                    <a:pt x="590" y="2181"/>
                    <a:pt x="590" y="2181"/>
                  </a:cubicBezTo>
                  <a:cubicBezTo>
                    <a:pt x="590" y="1539"/>
                    <a:pt x="590" y="1539"/>
                    <a:pt x="590" y="1539"/>
                  </a:cubicBezTo>
                  <a:cubicBezTo>
                    <a:pt x="655" y="1526"/>
                    <a:pt x="707" y="1471"/>
                    <a:pt x="712" y="1402"/>
                  </a:cubicBezTo>
                  <a:cubicBezTo>
                    <a:pt x="769" y="681"/>
                    <a:pt x="769" y="681"/>
                    <a:pt x="769" y="681"/>
                  </a:cubicBezTo>
                  <a:cubicBezTo>
                    <a:pt x="779" y="552"/>
                    <a:pt x="677" y="441"/>
                    <a:pt x="548" y="4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6" name="Freeform 5">
              <a:extLst>
                <a:ext uri="{FF2B5EF4-FFF2-40B4-BE49-F238E27FC236}">
                  <a16:creationId xmlns:a16="http://schemas.microsoft.com/office/drawing/2014/main" id="{85C360C8-7613-44C4-8DDB-E4FFEBBB0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407" y="4978205"/>
              <a:ext cx="266986" cy="844704"/>
            </a:xfrm>
            <a:custGeom>
              <a:avLst/>
              <a:gdLst>
                <a:gd name="T0" fmla="*/ 544 w 688"/>
                <a:gd name="T1" fmla="*/ 200 h 2179"/>
                <a:gd name="T2" fmla="*/ 344 w 688"/>
                <a:gd name="T3" fmla="*/ 400 h 2179"/>
                <a:gd name="T4" fmla="*/ 144 w 688"/>
                <a:gd name="T5" fmla="*/ 200 h 2179"/>
                <a:gd name="T6" fmla="*/ 344 w 688"/>
                <a:gd name="T7" fmla="*/ 0 h 2179"/>
                <a:gd name="T8" fmla="*/ 544 w 688"/>
                <a:gd name="T9" fmla="*/ 200 h 2179"/>
                <a:gd name="T10" fmla="*/ 635 w 688"/>
                <a:gd name="T11" fmla="*/ 1510 h 2179"/>
                <a:gd name="T12" fmla="*/ 679 w 688"/>
                <a:gd name="T13" fmla="*/ 1700 h 2179"/>
                <a:gd name="T14" fmla="*/ 684 w 688"/>
                <a:gd name="T15" fmla="*/ 1732 h 2179"/>
                <a:gd name="T16" fmla="*/ 529 w 688"/>
                <a:gd name="T17" fmla="*/ 1732 h 2179"/>
                <a:gd name="T18" fmla="*/ 498 w 688"/>
                <a:gd name="T19" fmla="*/ 2179 h 2179"/>
                <a:gd name="T20" fmla="*/ 190 w 688"/>
                <a:gd name="T21" fmla="*/ 2179 h 2179"/>
                <a:gd name="T22" fmla="*/ 159 w 688"/>
                <a:gd name="T23" fmla="*/ 1732 h 2179"/>
                <a:gd name="T24" fmla="*/ 4 w 688"/>
                <a:gd name="T25" fmla="*/ 1732 h 2179"/>
                <a:gd name="T26" fmla="*/ 10 w 688"/>
                <a:gd name="T27" fmla="*/ 1698 h 2179"/>
                <a:gd name="T28" fmla="*/ 54 w 688"/>
                <a:gd name="T29" fmla="*/ 1511 h 2179"/>
                <a:gd name="T30" fmla="*/ 0 w 688"/>
                <a:gd name="T31" fmla="*/ 1399 h 2179"/>
                <a:gd name="T32" fmla="*/ 0 w 688"/>
                <a:gd name="T33" fmla="*/ 669 h 2179"/>
                <a:gd name="T34" fmla="*/ 228 w 688"/>
                <a:gd name="T35" fmla="*/ 441 h 2179"/>
                <a:gd name="T36" fmla="*/ 241 w 688"/>
                <a:gd name="T37" fmla="*/ 441 h 2179"/>
                <a:gd name="T38" fmla="*/ 448 w 688"/>
                <a:gd name="T39" fmla="*/ 441 h 2179"/>
                <a:gd name="T40" fmla="*/ 461 w 688"/>
                <a:gd name="T41" fmla="*/ 441 h 2179"/>
                <a:gd name="T42" fmla="*/ 688 w 688"/>
                <a:gd name="T43" fmla="*/ 669 h 2179"/>
                <a:gd name="T44" fmla="*/ 688 w 688"/>
                <a:gd name="T45" fmla="*/ 1399 h 2179"/>
                <a:gd name="T46" fmla="*/ 635 w 688"/>
                <a:gd name="T47" fmla="*/ 1510 h 2179"/>
                <a:gd name="T48" fmla="*/ 163 w 688"/>
                <a:gd name="T49" fmla="*/ 1046 h 2179"/>
                <a:gd name="T50" fmla="*/ 92 w 688"/>
                <a:gd name="T51" fmla="*/ 830 h 2179"/>
                <a:gd name="T52" fmla="*/ 139 w 688"/>
                <a:gd name="T53" fmla="*/ 1152 h 2179"/>
                <a:gd name="T54" fmla="*/ 163 w 688"/>
                <a:gd name="T55" fmla="*/ 1046 h 2179"/>
                <a:gd name="T56" fmla="*/ 595 w 688"/>
                <a:gd name="T57" fmla="*/ 841 h 2179"/>
                <a:gd name="T58" fmla="*/ 530 w 688"/>
                <a:gd name="T59" fmla="*/ 1046 h 2179"/>
                <a:gd name="T60" fmla="*/ 551 w 688"/>
                <a:gd name="T61" fmla="*/ 1141 h 2179"/>
                <a:gd name="T62" fmla="*/ 595 w 688"/>
                <a:gd name="T63" fmla="*/ 841 h 2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88" h="2179">
                  <a:moveTo>
                    <a:pt x="544" y="200"/>
                  </a:moveTo>
                  <a:cubicBezTo>
                    <a:pt x="544" y="310"/>
                    <a:pt x="455" y="400"/>
                    <a:pt x="344" y="400"/>
                  </a:cubicBezTo>
                  <a:cubicBezTo>
                    <a:pt x="234" y="400"/>
                    <a:pt x="144" y="310"/>
                    <a:pt x="144" y="200"/>
                  </a:cubicBezTo>
                  <a:cubicBezTo>
                    <a:pt x="144" y="90"/>
                    <a:pt x="234" y="0"/>
                    <a:pt x="344" y="0"/>
                  </a:cubicBezTo>
                  <a:cubicBezTo>
                    <a:pt x="455" y="0"/>
                    <a:pt x="544" y="90"/>
                    <a:pt x="544" y="200"/>
                  </a:cubicBezTo>
                  <a:close/>
                  <a:moveTo>
                    <a:pt x="635" y="1510"/>
                  </a:moveTo>
                  <a:cubicBezTo>
                    <a:pt x="679" y="1700"/>
                    <a:pt x="679" y="1700"/>
                    <a:pt x="679" y="1700"/>
                  </a:cubicBezTo>
                  <a:cubicBezTo>
                    <a:pt x="681" y="1710"/>
                    <a:pt x="683" y="1721"/>
                    <a:pt x="684" y="1732"/>
                  </a:cubicBezTo>
                  <a:cubicBezTo>
                    <a:pt x="529" y="1732"/>
                    <a:pt x="529" y="1732"/>
                    <a:pt x="529" y="1732"/>
                  </a:cubicBezTo>
                  <a:cubicBezTo>
                    <a:pt x="498" y="2179"/>
                    <a:pt x="498" y="2179"/>
                    <a:pt x="498" y="2179"/>
                  </a:cubicBezTo>
                  <a:cubicBezTo>
                    <a:pt x="190" y="2179"/>
                    <a:pt x="190" y="2179"/>
                    <a:pt x="190" y="2179"/>
                  </a:cubicBezTo>
                  <a:cubicBezTo>
                    <a:pt x="159" y="1732"/>
                    <a:pt x="159" y="1732"/>
                    <a:pt x="159" y="1732"/>
                  </a:cubicBezTo>
                  <a:cubicBezTo>
                    <a:pt x="4" y="1732"/>
                    <a:pt x="4" y="1732"/>
                    <a:pt x="4" y="1732"/>
                  </a:cubicBezTo>
                  <a:cubicBezTo>
                    <a:pt x="5" y="1721"/>
                    <a:pt x="7" y="1709"/>
                    <a:pt x="10" y="1698"/>
                  </a:cubicBezTo>
                  <a:cubicBezTo>
                    <a:pt x="54" y="1511"/>
                    <a:pt x="54" y="1511"/>
                    <a:pt x="54" y="1511"/>
                  </a:cubicBezTo>
                  <a:cubicBezTo>
                    <a:pt x="21" y="1484"/>
                    <a:pt x="0" y="1444"/>
                    <a:pt x="0" y="1399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0" y="543"/>
                    <a:pt x="102" y="441"/>
                    <a:pt x="228" y="441"/>
                  </a:cubicBezTo>
                  <a:cubicBezTo>
                    <a:pt x="241" y="441"/>
                    <a:pt x="241" y="441"/>
                    <a:pt x="241" y="441"/>
                  </a:cubicBezTo>
                  <a:cubicBezTo>
                    <a:pt x="448" y="441"/>
                    <a:pt x="448" y="441"/>
                    <a:pt x="448" y="441"/>
                  </a:cubicBezTo>
                  <a:cubicBezTo>
                    <a:pt x="461" y="441"/>
                    <a:pt x="461" y="441"/>
                    <a:pt x="461" y="441"/>
                  </a:cubicBezTo>
                  <a:cubicBezTo>
                    <a:pt x="586" y="441"/>
                    <a:pt x="688" y="543"/>
                    <a:pt x="688" y="669"/>
                  </a:cubicBezTo>
                  <a:cubicBezTo>
                    <a:pt x="688" y="1399"/>
                    <a:pt x="688" y="1399"/>
                    <a:pt x="688" y="1399"/>
                  </a:cubicBezTo>
                  <a:cubicBezTo>
                    <a:pt x="688" y="1443"/>
                    <a:pt x="667" y="1483"/>
                    <a:pt x="635" y="1510"/>
                  </a:cubicBezTo>
                  <a:close/>
                  <a:moveTo>
                    <a:pt x="163" y="1046"/>
                  </a:moveTo>
                  <a:cubicBezTo>
                    <a:pt x="92" y="830"/>
                    <a:pt x="92" y="830"/>
                    <a:pt x="92" y="830"/>
                  </a:cubicBezTo>
                  <a:cubicBezTo>
                    <a:pt x="139" y="1152"/>
                    <a:pt x="139" y="1152"/>
                    <a:pt x="139" y="1152"/>
                  </a:cubicBezTo>
                  <a:lnTo>
                    <a:pt x="163" y="1046"/>
                  </a:lnTo>
                  <a:close/>
                  <a:moveTo>
                    <a:pt x="595" y="841"/>
                  </a:moveTo>
                  <a:cubicBezTo>
                    <a:pt x="530" y="1046"/>
                    <a:pt x="530" y="1046"/>
                    <a:pt x="530" y="1046"/>
                  </a:cubicBezTo>
                  <a:cubicBezTo>
                    <a:pt x="551" y="1141"/>
                    <a:pt x="551" y="1141"/>
                    <a:pt x="551" y="1141"/>
                  </a:cubicBezTo>
                  <a:lnTo>
                    <a:pt x="595" y="8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7" name="Text Placeholder 10">
            <a:extLst>
              <a:ext uri="{FF2B5EF4-FFF2-40B4-BE49-F238E27FC236}">
                <a16:creationId xmlns:a16="http://schemas.microsoft.com/office/drawing/2014/main" id="{47945B46-6654-48FB-8FFD-6E4F997FFA91}"/>
              </a:ext>
            </a:extLst>
          </p:cNvPr>
          <p:cNvSpPr txBox="1">
            <a:spLocks/>
          </p:cNvSpPr>
          <p:nvPr/>
        </p:nvSpPr>
        <p:spPr>
          <a:xfrm>
            <a:off x="6032717" y="5899708"/>
            <a:ext cx="5914017" cy="2351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ценка выживаемости в зависимости от ФК основана на популяции пациентов с ранее постановленным диагнозом ЛАГ (n = 2 039) в регистре REVEAL</a:t>
            </a:r>
            <a:r>
              <a:rPr kumimoji="0" lang="ru-RU" sz="1200" i="1" u="none" strike="noStrike" kern="120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48" name="Text Placeholder 22">
            <a:extLst>
              <a:ext uri="{FF2B5EF4-FFF2-40B4-BE49-F238E27FC236}">
                <a16:creationId xmlns:a16="http://schemas.microsoft.com/office/drawing/2014/main" id="{3C764474-B752-4693-9111-EF60638CF7B4}"/>
              </a:ext>
            </a:extLst>
          </p:cNvPr>
          <p:cNvSpPr txBox="1">
            <a:spLocks/>
          </p:cNvSpPr>
          <p:nvPr/>
        </p:nvSpPr>
        <p:spPr>
          <a:xfrm>
            <a:off x="135360" y="6504839"/>
            <a:ext cx="11769257" cy="2972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'Alonzo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1991;115(5):343-9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ne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s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1;139(6):1285-93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be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s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5;148(4):1043-54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rsholm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lm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rc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5;5(2):364-9.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ques-Alves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neumo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06). 2017;23(3):124-31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ge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A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ce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5;65(1):5-29. 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4D14846D-A8D7-43B7-8932-55D0420D6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582014"/>
              </p:ext>
            </p:extLst>
          </p:nvPr>
        </p:nvGraphicFramePr>
        <p:xfrm>
          <a:off x="246016" y="2572443"/>
          <a:ext cx="5400841" cy="2354020"/>
        </p:xfrm>
        <a:graphic>
          <a:graphicData uri="http://schemas.openxmlformats.org/drawingml/2006/table">
            <a:tbl>
              <a:tblPr firstRow="1" bandRow="1"/>
              <a:tblGrid>
                <a:gridCol w="1223748">
                  <a:extLst>
                    <a:ext uri="{9D8B030D-6E8A-4147-A177-3AD203B41FA5}">
                      <a16:colId xmlns:a16="http://schemas.microsoft.com/office/drawing/2014/main" val="3105175660"/>
                    </a:ext>
                  </a:extLst>
                </a:gridCol>
                <a:gridCol w="1099551">
                  <a:extLst>
                    <a:ext uri="{9D8B030D-6E8A-4147-A177-3AD203B41FA5}">
                      <a16:colId xmlns:a16="http://schemas.microsoft.com/office/drawing/2014/main" val="287798327"/>
                    </a:ext>
                  </a:extLst>
                </a:gridCol>
                <a:gridCol w="1290025">
                  <a:extLst>
                    <a:ext uri="{9D8B030D-6E8A-4147-A177-3AD203B41FA5}">
                      <a16:colId xmlns:a16="http://schemas.microsoft.com/office/drawing/2014/main" val="1272004670"/>
                    </a:ext>
                  </a:extLst>
                </a:gridCol>
                <a:gridCol w="1787517">
                  <a:extLst>
                    <a:ext uri="{9D8B030D-6E8A-4147-A177-3AD203B41FA5}">
                      <a16:colId xmlns:a16="http://schemas.microsoft.com/office/drawing/2014/main" val="844307493"/>
                    </a:ext>
                  </a:extLst>
                </a:gridCol>
              </a:tblGrid>
              <a:tr h="6049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ГОДЫ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ТРАНА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ПАЦИЕНТЫ (N)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-летняя выживаемость (%)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205520"/>
                  </a:ext>
                </a:extLst>
              </a:tr>
              <a:tr h="2979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kern="0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981-1988</a:t>
                      </a:r>
                      <a:r>
                        <a:rPr lang="ru-RU" sz="1200" b="1" i="0" u="none" kern="0" spc="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RU" sz="1200" b="1" kern="0" spc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США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94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48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683637"/>
                  </a:ext>
                </a:extLst>
              </a:tr>
              <a:tr h="2979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121917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0" spc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995-2004</a:t>
                      </a:r>
                      <a:r>
                        <a:rPr lang="ru-RU" sz="1200" b="1" i="0" u="none" kern="0" spc="0" baseline="300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lang="ru-RU" sz="1200" b="1" kern="0" spc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США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484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61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569886"/>
                  </a:ext>
                </a:extLst>
              </a:tr>
              <a:tr h="2979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121917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0" spc="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2001-2009</a:t>
                      </a:r>
                      <a:r>
                        <a:rPr lang="ru-RU" sz="1200" b="1" i="0" u="none" kern="0" spc="0" baseline="300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endParaRPr lang="ru-RU" sz="1200" b="1" kern="0" spc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США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710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69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3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828785"/>
                  </a:ext>
                </a:extLst>
              </a:tr>
              <a:tr h="2979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121917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0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2000-2012</a:t>
                      </a:r>
                      <a:r>
                        <a:rPr lang="ru-RU" sz="1200" b="1" i="0" u="none" kern="0" spc="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lang="ru-RU" sz="1200" b="1" kern="0" spc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Дания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73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602188"/>
                  </a:ext>
                </a:extLst>
              </a:tr>
              <a:tr h="5128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121917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0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2009-2015</a:t>
                      </a:r>
                      <a:r>
                        <a:rPr lang="ru-RU" sz="1200" b="1" i="0" u="none" kern="0" spc="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5</a:t>
                      </a:r>
                      <a:endParaRPr lang="ru-RU" sz="1200" b="1" kern="0" spc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Португалия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65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alpha val="3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i="0" u="none" spc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77</a:t>
                      </a:r>
                      <a:endParaRPr lang="ru-RU" sz="1200" b="1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3500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alpha val="3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47212"/>
                  </a:ext>
                </a:extLst>
              </a:tr>
            </a:tbl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D96D412C-5721-4C29-89D3-602D944E7394}"/>
              </a:ext>
            </a:extLst>
          </p:cNvPr>
          <p:cNvSpPr/>
          <p:nvPr/>
        </p:nvSpPr>
        <p:spPr>
          <a:xfrm>
            <a:off x="246016" y="902481"/>
            <a:ext cx="114452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мотря на появление ЛАГ-специфической терапии летальность пациентов с ЛАГ остается высокой и сопоставима с онкологической</a:t>
            </a:r>
          </a:p>
        </p:txBody>
      </p:sp>
    </p:spTree>
    <p:extLst>
      <p:ext uri="{BB962C8B-B14F-4D97-AF65-F5344CB8AC3E}">
        <p14:creationId xmlns:p14="http://schemas.microsoft.com/office/powerpoint/2010/main" val="3386389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1">
            <a:extLst>
              <a:ext uri="{FF2B5EF4-FFF2-40B4-BE49-F238E27FC236}">
                <a16:creationId xmlns:a16="http://schemas.microsoft.com/office/drawing/2014/main" id="{77BB74D4-07A5-4D13-9F70-D8DC6753C1EC}"/>
              </a:ext>
            </a:extLst>
          </p:cNvPr>
          <p:cNvSpPr/>
          <p:nvPr/>
        </p:nvSpPr>
        <p:spPr>
          <a:xfrm>
            <a:off x="62427" y="1665026"/>
            <a:ext cx="6898527" cy="4192499"/>
          </a:xfrm>
          <a:prstGeom prst="homePlate">
            <a:avLst>
              <a:gd name="adj" fmla="val 11800"/>
            </a:avLst>
          </a:prstGeom>
          <a:solidFill>
            <a:srgbClr val="FFFFFF">
              <a:lumMod val="95000"/>
            </a:srgbClr>
          </a:solidFill>
          <a:ln>
            <a:noFill/>
          </a:ln>
        </p:spPr>
        <p:txBody>
          <a:bodyPr vert="horz" wrap="square" lIns="18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5EBE0B3E-4CA8-4202-9DA8-244A0FE5F0BE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381904" y="2730957"/>
            <a:ext cx="4168775" cy="1381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Freeform 6">
            <a:extLst>
              <a:ext uri="{FF2B5EF4-FFF2-40B4-BE49-F238E27FC236}">
                <a16:creationId xmlns:a16="http://schemas.microsoft.com/office/drawing/2014/main" id="{19087853-C24E-432A-A7D8-71EE75D98ACA}"/>
              </a:ext>
            </a:extLst>
          </p:cNvPr>
          <p:cNvSpPr>
            <a:spLocks/>
          </p:cNvSpPr>
          <p:nvPr/>
        </p:nvSpPr>
        <p:spPr bwMode="auto">
          <a:xfrm>
            <a:off x="7424767" y="2773555"/>
            <a:ext cx="4117975" cy="1339296"/>
          </a:xfrm>
          <a:custGeom>
            <a:avLst/>
            <a:gdLst>
              <a:gd name="T0" fmla="*/ 0 w 1045"/>
              <a:gd name="T1" fmla="*/ 0 h 316"/>
              <a:gd name="T2" fmla="*/ 12 w 1045"/>
              <a:gd name="T3" fmla="*/ 12 h 316"/>
              <a:gd name="T4" fmla="*/ 19 w 1045"/>
              <a:gd name="T5" fmla="*/ 34 h 316"/>
              <a:gd name="T6" fmla="*/ 29 w 1045"/>
              <a:gd name="T7" fmla="*/ 54 h 316"/>
              <a:gd name="T8" fmla="*/ 39 w 1045"/>
              <a:gd name="T9" fmla="*/ 72 h 316"/>
              <a:gd name="T10" fmla="*/ 55 w 1045"/>
              <a:gd name="T11" fmla="*/ 85 h 316"/>
              <a:gd name="T12" fmla="*/ 69 w 1045"/>
              <a:gd name="T13" fmla="*/ 94 h 316"/>
              <a:gd name="T14" fmla="*/ 94 w 1045"/>
              <a:gd name="T15" fmla="*/ 103 h 316"/>
              <a:gd name="T16" fmla="*/ 109 w 1045"/>
              <a:gd name="T17" fmla="*/ 118 h 316"/>
              <a:gd name="T18" fmla="*/ 120 w 1045"/>
              <a:gd name="T19" fmla="*/ 125 h 316"/>
              <a:gd name="T20" fmla="*/ 126 w 1045"/>
              <a:gd name="T21" fmla="*/ 130 h 316"/>
              <a:gd name="T22" fmla="*/ 171 w 1045"/>
              <a:gd name="T23" fmla="*/ 130 h 316"/>
              <a:gd name="T24" fmla="*/ 179 w 1045"/>
              <a:gd name="T25" fmla="*/ 140 h 316"/>
              <a:gd name="T26" fmla="*/ 189 w 1045"/>
              <a:gd name="T27" fmla="*/ 152 h 316"/>
              <a:gd name="T28" fmla="*/ 202 w 1045"/>
              <a:gd name="T29" fmla="*/ 162 h 316"/>
              <a:gd name="T30" fmla="*/ 216 w 1045"/>
              <a:gd name="T31" fmla="*/ 162 h 316"/>
              <a:gd name="T32" fmla="*/ 228 w 1045"/>
              <a:gd name="T33" fmla="*/ 173 h 316"/>
              <a:gd name="T34" fmla="*/ 242 w 1045"/>
              <a:gd name="T35" fmla="*/ 187 h 316"/>
              <a:gd name="T36" fmla="*/ 273 w 1045"/>
              <a:gd name="T37" fmla="*/ 187 h 316"/>
              <a:gd name="T38" fmla="*/ 284 w 1045"/>
              <a:gd name="T39" fmla="*/ 194 h 316"/>
              <a:gd name="T40" fmla="*/ 304 w 1045"/>
              <a:gd name="T41" fmla="*/ 194 h 316"/>
              <a:gd name="T42" fmla="*/ 322 w 1045"/>
              <a:gd name="T43" fmla="*/ 200 h 316"/>
              <a:gd name="T44" fmla="*/ 331 w 1045"/>
              <a:gd name="T45" fmla="*/ 211 h 316"/>
              <a:gd name="T46" fmla="*/ 364 w 1045"/>
              <a:gd name="T47" fmla="*/ 211 h 316"/>
              <a:gd name="T48" fmla="*/ 381 w 1045"/>
              <a:gd name="T49" fmla="*/ 218 h 316"/>
              <a:gd name="T50" fmla="*/ 418 w 1045"/>
              <a:gd name="T51" fmla="*/ 218 h 316"/>
              <a:gd name="T52" fmla="*/ 428 w 1045"/>
              <a:gd name="T53" fmla="*/ 230 h 316"/>
              <a:gd name="T54" fmla="*/ 438 w 1045"/>
              <a:gd name="T55" fmla="*/ 240 h 316"/>
              <a:gd name="T56" fmla="*/ 438 w 1045"/>
              <a:gd name="T57" fmla="*/ 252 h 316"/>
              <a:gd name="T58" fmla="*/ 453 w 1045"/>
              <a:gd name="T59" fmla="*/ 259 h 316"/>
              <a:gd name="T60" fmla="*/ 467 w 1045"/>
              <a:gd name="T61" fmla="*/ 266 h 316"/>
              <a:gd name="T62" fmla="*/ 511 w 1045"/>
              <a:gd name="T63" fmla="*/ 266 h 316"/>
              <a:gd name="T64" fmla="*/ 523 w 1045"/>
              <a:gd name="T65" fmla="*/ 278 h 316"/>
              <a:gd name="T66" fmla="*/ 659 w 1045"/>
              <a:gd name="T67" fmla="*/ 278 h 316"/>
              <a:gd name="T68" fmla="*/ 671 w 1045"/>
              <a:gd name="T69" fmla="*/ 285 h 316"/>
              <a:gd name="T70" fmla="*/ 723 w 1045"/>
              <a:gd name="T71" fmla="*/ 285 h 316"/>
              <a:gd name="T72" fmla="*/ 731 w 1045"/>
              <a:gd name="T73" fmla="*/ 292 h 316"/>
              <a:gd name="T74" fmla="*/ 772 w 1045"/>
              <a:gd name="T75" fmla="*/ 292 h 316"/>
              <a:gd name="T76" fmla="*/ 781 w 1045"/>
              <a:gd name="T77" fmla="*/ 301 h 316"/>
              <a:gd name="T78" fmla="*/ 1031 w 1045"/>
              <a:gd name="T79" fmla="*/ 301 h 316"/>
              <a:gd name="T80" fmla="*/ 1045 w 1045"/>
              <a:gd name="T81" fmla="*/ 305 h 316"/>
              <a:gd name="T82" fmla="*/ 1045 w 1045"/>
              <a:gd name="T83" fmla="*/ 316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45" h="316">
                <a:moveTo>
                  <a:pt x="0" y="0"/>
                </a:moveTo>
                <a:cubicBezTo>
                  <a:pt x="12" y="12"/>
                  <a:pt x="12" y="12"/>
                  <a:pt x="12" y="12"/>
                </a:cubicBezTo>
                <a:cubicBezTo>
                  <a:pt x="19" y="34"/>
                  <a:pt x="19" y="34"/>
                  <a:pt x="19" y="34"/>
                </a:cubicBezTo>
                <a:cubicBezTo>
                  <a:pt x="29" y="54"/>
                  <a:pt x="29" y="54"/>
                  <a:pt x="29" y="54"/>
                </a:cubicBezTo>
                <a:cubicBezTo>
                  <a:pt x="39" y="72"/>
                  <a:pt x="39" y="72"/>
                  <a:pt x="39" y="72"/>
                </a:cubicBezTo>
                <a:cubicBezTo>
                  <a:pt x="55" y="85"/>
                  <a:pt x="55" y="85"/>
                  <a:pt x="55" y="85"/>
                </a:cubicBezTo>
                <a:cubicBezTo>
                  <a:pt x="69" y="94"/>
                  <a:pt x="69" y="94"/>
                  <a:pt x="69" y="94"/>
                </a:cubicBezTo>
                <a:cubicBezTo>
                  <a:pt x="94" y="103"/>
                  <a:pt x="94" y="103"/>
                  <a:pt x="94" y="103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20" y="125"/>
                  <a:pt x="120" y="125"/>
                  <a:pt x="120" y="125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79" y="140"/>
                  <a:pt x="179" y="140"/>
                  <a:pt x="179" y="140"/>
                </a:cubicBezTo>
                <a:cubicBezTo>
                  <a:pt x="189" y="152"/>
                  <a:pt x="189" y="152"/>
                  <a:pt x="189" y="152"/>
                </a:cubicBezTo>
                <a:cubicBezTo>
                  <a:pt x="202" y="162"/>
                  <a:pt x="202" y="162"/>
                  <a:pt x="202" y="162"/>
                </a:cubicBezTo>
                <a:cubicBezTo>
                  <a:pt x="216" y="162"/>
                  <a:pt x="216" y="162"/>
                  <a:pt x="216" y="162"/>
                </a:cubicBezTo>
                <a:cubicBezTo>
                  <a:pt x="228" y="173"/>
                  <a:pt x="228" y="173"/>
                  <a:pt x="228" y="173"/>
                </a:cubicBezTo>
                <a:cubicBezTo>
                  <a:pt x="242" y="187"/>
                  <a:pt x="242" y="187"/>
                  <a:pt x="242" y="187"/>
                </a:cubicBezTo>
                <a:cubicBezTo>
                  <a:pt x="273" y="187"/>
                  <a:pt x="273" y="187"/>
                  <a:pt x="273" y="187"/>
                </a:cubicBezTo>
                <a:cubicBezTo>
                  <a:pt x="284" y="194"/>
                  <a:pt x="284" y="194"/>
                  <a:pt x="284" y="194"/>
                </a:cubicBezTo>
                <a:cubicBezTo>
                  <a:pt x="304" y="194"/>
                  <a:pt x="304" y="194"/>
                  <a:pt x="304" y="194"/>
                </a:cubicBezTo>
                <a:cubicBezTo>
                  <a:pt x="322" y="200"/>
                  <a:pt x="322" y="200"/>
                  <a:pt x="322" y="200"/>
                </a:cubicBezTo>
                <a:cubicBezTo>
                  <a:pt x="331" y="211"/>
                  <a:pt x="331" y="211"/>
                  <a:pt x="331" y="211"/>
                </a:cubicBezTo>
                <a:cubicBezTo>
                  <a:pt x="364" y="211"/>
                  <a:pt x="364" y="211"/>
                  <a:pt x="364" y="211"/>
                </a:cubicBezTo>
                <a:cubicBezTo>
                  <a:pt x="381" y="218"/>
                  <a:pt x="381" y="218"/>
                  <a:pt x="381" y="218"/>
                </a:cubicBezTo>
                <a:cubicBezTo>
                  <a:pt x="418" y="218"/>
                  <a:pt x="418" y="218"/>
                  <a:pt x="418" y="218"/>
                </a:cubicBezTo>
                <a:cubicBezTo>
                  <a:pt x="428" y="230"/>
                  <a:pt x="428" y="230"/>
                  <a:pt x="428" y="230"/>
                </a:cubicBezTo>
                <a:cubicBezTo>
                  <a:pt x="438" y="240"/>
                  <a:pt x="438" y="240"/>
                  <a:pt x="438" y="240"/>
                </a:cubicBezTo>
                <a:cubicBezTo>
                  <a:pt x="438" y="252"/>
                  <a:pt x="438" y="252"/>
                  <a:pt x="438" y="252"/>
                </a:cubicBezTo>
                <a:cubicBezTo>
                  <a:pt x="453" y="259"/>
                  <a:pt x="453" y="259"/>
                  <a:pt x="453" y="259"/>
                </a:cubicBezTo>
                <a:cubicBezTo>
                  <a:pt x="467" y="266"/>
                  <a:pt x="467" y="266"/>
                  <a:pt x="467" y="266"/>
                </a:cubicBezTo>
                <a:cubicBezTo>
                  <a:pt x="467" y="266"/>
                  <a:pt x="509" y="260"/>
                  <a:pt x="511" y="266"/>
                </a:cubicBezTo>
                <a:cubicBezTo>
                  <a:pt x="513" y="271"/>
                  <a:pt x="523" y="278"/>
                  <a:pt x="523" y="278"/>
                </a:cubicBezTo>
                <a:cubicBezTo>
                  <a:pt x="659" y="278"/>
                  <a:pt x="659" y="278"/>
                  <a:pt x="659" y="278"/>
                </a:cubicBezTo>
                <a:cubicBezTo>
                  <a:pt x="671" y="285"/>
                  <a:pt x="671" y="285"/>
                  <a:pt x="671" y="285"/>
                </a:cubicBezTo>
                <a:cubicBezTo>
                  <a:pt x="723" y="285"/>
                  <a:pt x="723" y="285"/>
                  <a:pt x="723" y="285"/>
                </a:cubicBezTo>
                <a:cubicBezTo>
                  <a:pt x="731" y="292"/>
                  <a:pt x="731" y="292"/>
                  <a:pt x="731" y="292"/>
                </a:cubicBezTo>
                <a:cubicBezTo>
                  <a:pt x="772" y="292"/>
                  <a:pt x="772" y="292"/>
                  <a:pt x="772" y="292"/>
                </a:cubicBezTo>
                <a:cubicBezTo>
                  <a:pt x="781" y="301"/>
                  <a:pt x="781" y="301"/>
                  <a:pt x="781" y="301"/>
                </a:cubicBezTo>
                <a:cubicBezTo>
                  <a:pt x="1031" y="301"/>
                  <a:pt x="1031" y="301"/>
                  <a:pt x="1031" y="301"/>
                </a:cubicBezTo>
                <a:cubicBezTo>
                  <a:pt x="1045" y="305"/>
                  <a:pt x="1045" y="305"/>
                  <a:pt x="1045" y="305"/>
                </a:cubicBezTo>
                <a:cubicBezTo>
                  <a:pt x="1045" y="316"/>
                  <a:pt x="1045" y="316"/>
                  <a:pt x="1045" y="316"/>
                </a:cubicBezTo>
              </a:path>
            </a:pathLst>
          </a:custGeom>
          <a:noFill/>
          <a:ln w="25400" cap="flat">
            <a:solidFill>
              <a:srgbClr val="CC003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45BE1262-5D93-4418-8185-7D1EB1BBFB04}"/>
              </a:ext>
            </a:extLst>
          </p:cNvPr>
          <p:cNvSpPr>
            <a:spLocks/>
          </p:cNvSpPr>
          <p:nvPr/>
        </p:nvSpPr>
        <p:spPr bwMode="auto">
          <a:xfrm>
            <a:off x="7381904" y="2739477"/>
            <a:ext cx="4160838" cy="996804"/>
          </a:xfrm>
          <a:custGeom>
            <a:avLst/>
            <a:gdLst>
              <a:gd name="T0" fmla="*/ 2621 w 2621"/>
              <a:gd name="T1" fmla="*/ 585 h 585"/>
              <a:gd name="T2" fmla="*/ 2591 w 2621"/>
              <a:gd name="T3" fmla="*/ 565 h 585"/>
              <a:gd name="T4" fmla="*/ 2529 w 2621"/>
              <a:gd name="T5" fmla="*/ 542 h 585"/>
              <a:gd name="T6" fmla="*/ 2432 w 2621"/>
              <a:gd name="T7" fmla="*/ 542 h 585"/>
              <a:gd name="T8" fmla="*/ 2187 w 2621"/>
              <a:gd name="T9" fmla="*/ 527 h 585"/>
              <a:gd name="T10" fmla="*/ 2120 w 2621"/>
              <a:gd name="T11" fmla="*/ 510 h 585"/>
              <a:gd name="T12" fmla="*/ 2053 w 2621"/>
              <a:gd name="T13" fmla="*/ 510 h 585"/>
              <a:gd name="T14" fmla="*/ 1991 w 2621"/>
              <a:gd name="T15" fmla="*/ 478 h 585"/>
              <a:gd name="T16" fmla="*/ 1700 w 2621"/>
              <a:gd name="T17" fmla="*/ 460 h 585"/>
              <a:gd name="T18" fmla="*/ 1653 w 2621"/>
              <a:gd name="T19" fmla="*/ 435 h 585"/>
              <a:gd name="T20" fmla="*/ 1512 w 2621"/>
              <a:gd name="T21" fmla="*/ 413 h 585"/>
              <a:gd name="T22" fmla="*/ 1452 w 2621"/>
              <a:gd name="T23" fmla="*/ 398 h 585"/>
              <a:gd name="T24" fmla="*/ 1325 w 2621"/>
              <a:gd name="T25" fmla="*/ 381 h 585"/>
              <a:gd name="T26" fmla="*/ 1176 w 2621"/>
              <a:gd name="T27" fmla="*/ 358 h 585"/>
              <a:gd name="T28" fmla="*/ 1047 w 2621"/>
              <a:gd name="T29" fmla="*/ 336 h 585"/>
              <a:gd name="T30" fmla="*/ 931 w 2621"/>
              <a:gd name="T31" fmla="*/ 299 h 585"/>
              <a:gd name="T32" fmla="*/ 844 w 2621"/>
              <a:gd name="T33" fmla="*/ 269 h 585"/>
              <a:gd name="T34" fmla="*/ 700 w 2621"/>
              <a:gd name="T35" fmla="*/ 229 h 585"/>
              <a:gd name="T36" fmla="*/ 601 w 2621"/>
              <a:gd name="T37" fmla="*/ 199 h 585"/>
              <a:gd name="T38" fmla="*/ 554 w 2621"/>
              <a:gd name="T39" fmla="*/ 174 h 585"/>
              <a:gd name="T40" fmla="*/ 447 w 2621"/>
              <a:gd name="T41" fmla="*/ 157 h 585"/>
              <a:gd name="T42" fmla="*/ 380 w 2621"/>
              <a:gd name="T43" fmla="*/ 144 h 585"/>
              <a:gd name="T44" fmla="*/ 248 w 2621"/>
              <a:gd name="T45" fmla="*/ 99 h 585"/>
              <a:gd name="T46" fmla="*/ 0 w 2621"/>
              <a:gd name="T47" fmla="*/ 0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21" h="585">
                <a:moveTo>
                  <a:pt x="2621" y="585"/>
                </a:moveTo>
                <a:lnTo>
                  <a:pt x="2591" y="565"/>
                </a:lnTo>
                <a:lnTo>
                  <a:pt x="2529" y="542"/>
                </a:lnTo>
                <a:lnTo>
                  <a:pt x="2432" y="542"/>
                </a:lnTo>
                <a:lnTo>
                  <a:pt x="2187" y="527"/>
                </a:lnTo>
                <a:lnTo>
                  <a:pt x="2120" y="510"/>
                </a:lnTo>
                <a:lnTo>
                  <a:pt x="2053" y="510"/>
                </a:lnTo>
                <a:lnTo>
                  <a:pt x="1991" y="478"/>
                </a:lnTo>
                <a:lnTo>
                  <a:pt x="1700" y="460"/>
                </a:lnTo>
                <a:lnTo>
                  <a:pt x="1653" y="435"/>
                </a:lnTo>
                <a:lnTo>
                  <a:pt x="1512" y="413"/>
                </a:lnTo>
                <a:lnTo>
                  <a:pt x="1452" y="398"/>
                </a:lnTo>
                <a:lnTo>
                  <a:pt x="1325" y="381"/>
                </a:lnTo>
                <a:lnTo>
                  <a:pt x="1176" y="358"/>
                </a:lnTo>
                <a:lnTo>
                  <a:pt x="1047" y="336"/>
                </a:lnTo>
                <a:lnTo>
                  <a:pt x="931" y="299"/>
                </a:lnTo>
                <a:lnTo>
                  <a:pt x="844" y="269"/>
                </a:lnTo>
                <a:lnTo>
                  <a:pt x="700" y="229"/>
                </a:lnTo>
                <a:lnTo>
                  <a:pt x="601" y="199"/>
                </a:lnTo>
                <a:lnTo>
                  <a:pt x="554" y="174"/>
                </a:lnTo>
                <a:lnTo>
                  <a:pt x="447" y="157"/>
                </a:lnTo>
                <a:lnTo>
                  <a:pt x="380" y="144"/>
                </a:lnTo>
                <a:lnTo>
                  <a:pt x="248" y="99"/>
                </a:lnTo>
                <a:lnTo>
                  <a:pt x="0" y="0"/>
                </a:lnTo>
              </a:path>
            </a:pathLst>
          </a:custGeom>
          <a:noFill/>
          <a:ln w="25400" cap="flat">
            <a:solidFill>
              <a:srgbClr val="00B9C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3D4BE253-D856-480B-B837-A255C703383D}"/>
              </a:ext>
            </a:extLst>
          </p:cNvPr>
          <p:cNvSpPr>
            <a:spLocks/>
          </p:cNvSpPr>
          <p:nvPr/>
        </p:nvSpPr>
        <p:spPr bwMode="auto">
          <a:xfrm>
            <a:off x="7461279" y="2739477"/>
            <a:ext cx="4081463" cy="703727"/>
          </a:xfrm>
          <a:custGeom>
            <a:avLst/>
            <a:gdLst>
              <a:gd name="T0" fmla="*/ 2571 w 2571"/>
              <a:gd name="T1" fmla="*/ 413 h 413"/>
              <a:gd name="T2" fmla="*/ 1965 w 2571"/>
              <a:gd name="T3" fmla="*/ 398 h 413"/>
              <a:gd name="T4" fmla="*/ 1896 w 2571"/>
              <a:gd name="T5" fmla="*/ 378 h 413"/>
              <a:gd name="T6" fmla="*/ 1812 w 2571"/>
              <a:gd name="T7" fmla="*/ 378 h 413"/>
              <a:gd name="T8" fmla="*/ 1764 w 2571"/>
              <a:gd name="T9" fmla="*/ 341 h 413"/>
              <a:gd name="T10" fmla="*/ 1673 w 2571"/>
              <a:gd name="T11" fmla="*/ 341 h 413"/>
              <a:gd name="T12" fmla="*/ 1620 w 2571"/>
              <a:gd name="T13" fmla="*/ 321 h 413"/>
              <a:gd name="T14" fmla="*/ 1432 w 2571"/>
              <a:gd name="T15" fmla="*/ 321 h 413"/>
              <a:gd name="T16" fmla="*/ 1335 w 2571"/>
              <a:gd name="T17" fmla="*/ 306 h 413"/>
              <a:gd name="T18" fmla="*/ 1241 w 2571"/>
              <a:gd name="T19" fmla="*/ 306 h 413"/>
              <a:gd name="T20" fmla="*/ 1156 w 2571"/>
              <a:gd name="T21" fmla="*/ 294 h 413"/>
              <a:gd name="T22" fmla="*/ 1027 w 2571"/>
              <a:gd name="T23" fmla="*/ 294 h 413"/>
              <a:gd name="T24" fmla="*/ 935 w 2571"/>
              <a:gd name="T25" fmla="*/ 279 h 413"/>
              <a:gd name="T26" fmla="*/ 871 w 2571"/>
              <a:gd name="T27" fmla="*/ 249 h 413"/>
              <a:gd name="T28" fmla="*/ 769 w 2571"/>
              <a:gd name="T29" fmla="*/ 249 h 413"/>
              <a:gd name="T30" fmla="*/ 744 w 2571"/>
              <a:gd name="T31" fmla="*/ 224 h 413"/>
              <a:gd name="T32" fmla="*/ 700 w 2571"/>
              <a:gd name="T33" fmla="*/ 224 h 413"/>
              <a:gd name="T34" fmla="*/ 665 w 2571"/>
              <a:gd name="T35" fmla="*/ 182 h 413"/>
              <a:gd name="T36" fmla="*/ 620 w 2571"/>
              <a:gd name="T37" fmla="*/ 164 h 413"/>
              <a:gd name="T38" fmla="*/ 553 w 2571"/>
              <a:gd name="T39" fmla="*/ 164 h 413"/>
              <a:gd name="T40" fmla="*/ 471 w 2571"/>
              <a:gd name="T41" fmla="*/ 144 h 413"/>
              <a:gd name="T42" fmla="*/ 441 w 2571"/>
              <a:gd name="T43" fmla="*/ 117 h 413"/>
              <a:gd name="T44" fmla="*/ 377 w 2571"/>
              <a:gd name="T45" fmla="*/ 95 h 413"/>
              <a:gd name="T46" fmla="*/ 295 w 2571"/>
              <a:gd name="T47" fmla="*/ 95 h 413"/>
              <a:gd name="T48" fmla="*/ 248 w 2571"/>
              <a:gd name="T49" fmla="*/ 70 h 413"/>
              <a:gd name="T50" fmla="*/ 183 w 2571"/>
              <a:gd name="T51" fmla="*/ 50 h 413"/>
              <a:gd name="T52" fmla="*/ 144 w 2571"/>
              <a:gd name="T53" fmla="*/ 37 h 413"/>
              <a:gd name="T54" fmla="*/ 62 w 2571"/>
              <a:gd name="T55" fmla="*/ 20 h 413"/>
              <a:gd name="T56" fmla="*/ 0 w 2571"/>
              <a:gd name="T57" fmla="*/ 0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571" h="413">
                <a:moveTo>
                  <a:pt x="2571" y="413"/>
                </a:moveTo>
                <a:lnTo>
                  <a:pt x="1965" y="398"/>
                </a:lnTo>
                <a:lnTo>
                  <a:pt x="1896" y="378"/>
                </a:lnTo>
                <a:lnTo>
                  <a:pt x="1812" y="378"/>
                </a:lnTo>
                <a:lnTo>
                  <a:pt x="1764" y="341"/>
                </a:lnTo>
                <a:lnTo>
                  <a:pt x="1673" y="341"/>
                </a:lnTo>
                <a:lnTo>
                  <a:pt x="1620" y="321"/>
                </a:lnTo>
                <a:lnTo>
                  <a:pt x="1432" y="321"/>
                </a:lnTo>
                <a:lnTo>
                  <a:pt x="1335" y="306"/>
                </a:lnTo>
                <a:lnTo>
                  <a:pt x="1241" y="306"/>
                </a:lnTo>
                <a:lnTo>
                  <a:pt x="1156" y="294"/>
                </a:lnTo>
                <a:lnTo>
                  <a:pt x="1027" y="294"/>
                </a:lnTo>
                <a:lnTo>
                  <a:pt x="935" y="279"/>
                </a:lnTo>
                <a:lnTo>
                  <a:pt x="871" y="249"/>
                </a:lnTo>
                <a:lnTo>
                  <a:pt x="769" y="249"/>
                </a:lnTo>
                <a:lnTo>
                  <a:pt x="744" y="224"/>
                </a:lnTo>
                <a:lnTo>
                  <a:pt x="700" y="224"/>
                </a:lnTo>
                <a:lnTo>
                  <a:pt x="665" y="182"/>
                </a:lnTo>
                <a:lnTo>
                  <a:pt x="620" y="164"/>
                </a:lnTo>
                <a:lnTo>
                  <a:pt x="553" y="164"/>
                </a:lnTo>
                <a:lnTo>
                  <a:pt x="471" y="144"/>
                </a:lnTo>
                <a:lnTo>
                  <a:pt x="441" y="117"/>
                </a:lnTo>
                <a:lnTo>
                  <a:pt x="377" y="95"/>
                </a:lnTo>
                <a:lnTo>
                  <a:pt x="295" y="95"/>
                </a:lnTo>
                <a:lnTo>
                  <a:pt x="248" y="70"/>
                </a:lnTo>
                <a:lnTo>
                  <a:pt x="183" y="50"/>
                </a:lnTo>
                <a:lnTo>
                  <a:pt x="144" y="37"/>
                </a:lnTo>
                <a:lnTo>
                  <a:pt x="62" y="20"/>
                </a:lnTo>
                <a:lnTo>
                  <a:pt x="0" y="0"/>
                </a:lnTo>
              </a:path>
            </a:pathLst>
          </a:custGeom>
          <a:noFill/>
          <a:ln w="25400" cap="flat">
            <a:solidFill>
              <a:srgbClr val="80828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55A127B-6C14-4FC3-9BBF-5CB31728242F}"/>
              </a:ext>
            </a:extLst>
          </p:cNvPr>
          <p:cNvSpPr txBox="1">
            <a:spLocks/>
          </p:cNvSpPr>
          <p:nvPr/>
        </p:nvSpPr>
        <p:spPr>
          <a:xfrm>
            <a:off x="97199" y="6264464"/>
            <a:ext cx="7327568" cy="48459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rber et al. Chest. 2015;148(4):1043-54.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Dufour et al. Pulmonary Arterial Hypertension (PAH) Episodes of Care: Survival Analysis of PAH Patients Based on World Health Organization (WHO) Functional Class (FC). Presented at the Academy of Managed Care Pharmacy &amp; Speciality Pharmacy Annual Meeting 2016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5161B-C79A-4863-A002-E665371DACE7}"/>
              </a:ext>
            </a:extLst>
          </p:cNvPr>
          <p:cNvSpPr txBox="1"/>
          <p:nvPr/>
        </p:nvSpPr>
        <p:spPr>
          <a:xfrm>
            <a:off x="10332931" y="4055447"/>
            <a:ext cx="95192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200" b="1" dirty="0">
                <a:solidFill>
                  <a:srgbClr val="CC0033"/>
                </a:solidFill>
                <a:latin typeface="Arial"/>
              </a:rPr>
              <a:t>ФК</a:t>
            </a:r>
            <a:r>
              <a:rPr lang="en-GB" sz="1200" b="1" dirty="0">
                <a:solidFill>
                  <a:srgbClr val="CC0033"/>
                </a:solidFill>
                <a:latin typeface="Arial"/>
              </a:rPr>
              <a:t> IV</a:t>
            </a:r>
            <a:endParaRPr lang="en-GB" sz="1200" b="1" baseline="30000" dirty="0">
              <a:solidFill>
                <a:srgbClr val="CC0033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5FDBEE-F014-44C6-AB22-50B8B547AEA5}"/>
              </a:ext>
            </a:extLst>
          </p:cNvPr>
          <p:cNvSpPr txBox="1"/>
          <p:nvPr/>
        </p:nvSpPr>
        <p:spPr>
          <a:xfrm>
            <a:off x="10332931" y="3237716"/>
            <a:ext cx="95192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200" b="1" dirty="0">
                <a:solidFill>
                  <a:srgbClr val="66D5E1"/>
                </a:solidFill>
                <a:latin typeface="Arial"/>
              </a:rPr>
              <a:t>ФК</a:t>
            </a:r>
            <a:r>
              <a:rPr lang="en-GB" sz="1200" b="1" dirty="0">
                <a:solidFill>
                  <a:srgbClr val="66D5E1"/>
                </a:solidFill>
                <a:latin typeface="Arial"/>
              </a:rPr>
              <a:t> I/II</a:t>
            </a:r>
            <a:endParaRPr lang="en-GB" sz="1200" b="1" baseline="30000" dirty="0">
              <a:solidFill>
                <a:srgbClr val="66D5E1"/>
              </a:solidFill>
              <a:latin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C7EF2E-1539-4E94-AC7A-895C65E24813}"/>
              </a:ext>
            </a:extLst>
          </p:cNvPr>
          <p:cNvSpPr txBox="1"/>
          <p:nvPr/>
        </p:nvSpPr>
        <p:spPr>
          <a:xfrm>
            <a:off x="10332931" y="3655022"/>
            <a:ext cx="95192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200" b="1" dirty="0">
                <a:solidFill>
                  <a:srgbClr val="00B9CD"/>
                </a:solidFill>
                <a:latin typeface="Arial"/>
              </a:rPr>
              <a:t>ФК</a:t>
            </a:r>
            <a:r>
              <a:rPr lang="en-GB" sz="1200" b="1" dirty="0">
                <a:solidFill>
                  <a:srgbClr val="00B9CD"/>
                </a:solidFill>
                <a:latin typeface="Arial"/>
              </a:rPr>
              <a:t> III</a:t>
            </a:r>
            <a:endParaRPr lang="en-GB" sz="1200" b="1" baseline="30000" dirty="0">
              <a:solidFill>
                <a:srgbClr val="00B9CD"/>
              </a:solidFill>
              <a:latin typeface="Arial"/>
            </a:endParaRP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526E69CC-5F4F-45F0-89B4-072F90DB3B3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623454" y="4141521"/>
            <a:ext cx="1422400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24D131-9A60-4C46-9A38-C11E4587C69C}"/>
              </a:ext>
            </a:extLst>
          </p:cNvPr>
          <p:cNvSpPr txBox="1"/>
          <p:nvPr/>
        </p:nvSpPr>
        <p:spPr>
          <a:xfrm>
            <a:off x="11569585" y="3991006"/>
            <a:ext cx="3817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CC0033"/>
                </a:solidFill>
                <a:latin typeface="Arial"/>
              </a:rPr>
              <a:t>44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FED992-7D6A-40E8-8222-FDB1CF1628A1}"/>
              </a:ext>
            </a:extLst>
          </p:cNvPr>
          <p:cNvSpPr txBox="1"/>
          <p:nvPr/>
        </p:nvSpPr>
        <p:spPr>
          <a:xfrm>
            <a:off x="11569585" y="3306942"/>
            <a:ext cx="3817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66D5E1"/>
                </a:solidFill>
                <a:latin typeface="Arial"/>
              </a:rPr>
              <a:t>72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A00F39-3F5A-413F-8C28-441E7C59F3FD}"/>
              </a:ext>
            </a:extLst>
          </p:cNvPr>
          <p:cNvSpPr txBox="1"/>
          <p:nvPr/>
        </p:nvSpPr>
        <p:spPr>
          <a:xfrm>
            <a:off x="11569585" y="3655083"/>
            <a:ext cx="3817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0B9CD"/>
                </a:solidFill>
                <a:latin typeface="Arial"/>
              </a:rPr>
              <a:t>60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C6ECAE-33AE-41EB-9E19-66DA54DAEA17}"/>
              </a:ext>
            </a:extLst>
          </p:cNvPr>
          <p:cNvSpPr/>
          <p:nvPr/>
        </p:nvSpPr>
        <p:spPr>
          <a:xfrm>
            <a:off x="4055097" y="4687721"/>
            <a:ext cx="654092" cy="542748"/>
          </a:xfrm>
          <a:prstGeom prst="rect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6BA4C1-C9F1-4259-84D2-EC884AD99B81}"/>
              </a:ext>
            </a:extLst>
          </p:cNvPr>
          <p:cNvSpPr txBox="1"/>
          <p:nvPr/>
        </p:nvSpPr>
        <p:spPr>
          <a:xfrm>
            <a:off x="4063392" y="4691071"/>
            <a:ext cx="654092" cy="412994"/>
          </a:xfrm>
          <a:prstGeom prst="rect">
            <a:avLst/>
          </a:prstGeom>
          <a:noFill/>
        </p:spPr>
        <p:txBody>
          <a:bodyPr wrap="square" lIns="0" tIns="3600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FFFFFF"/>
                </a:solidFill>
                <a:latin typeface="Arial"/>
              </a:rPr>
              <a:t>13.5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221FB2-E144-4A31-AE46-581249184168}"/>
              </a:ext>
            </a:extLst>
          </p:cNvPr>
          <p:cNvSpPr txBox="1"/>
          <p:nvPr/>
        </p:nvSpPr>
        <p:spPr>
          <a:xfrm>
            <a:off x="4055097" y="5304506"/>
            <a:ext cx="6540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>
                <a:solidFill>
                  <a:prstClr val="black"/>
                </a:solidFill>
                <a:latin typeface="Arial"/>
              </a:rPr>
              <a:t>ФК</a:t>
            </a:r>
            <a:r>
              <a:rPr lang="en-GB" sz="1000" dirty="0">
                <a:solidFill>
                  <a:prstClr val="black"/>
                </a:solidFill>
                <a:latin typeface="Arial"/>
              </a:rPr>
              <a:t> I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C75713-7109-430D-A49E-FC3BA9EE256C}"/>
              </a:ext>
            </a:extLst>
          </p:cNvPr>
          <p:cNvSpPr/>
          <p:nvPr/>
        </p:nvSpPr>
        <p:spPr>
          <a:xfrm>
            <a:off x="3082947" y="2858468"/>
            <a:ext cx="654092" cy="2368760"/>
          </a:xfrm>
          <a:prstGeom prst="rect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9CC47D-6223-47B7-B7E5-E39ED1213FC7}"/>
              </a:ext>
            </a:extLst>
          </p:cNvPr>
          <p:cNvSpPr txBox="1"/>
          <p:nvPr/>
        </p:nvSpPr>
        <p:spPr>
          <a:xfrm>
            <a:off x="3075839" y="2878566"/>
            <a:ext cx="654092" cy="412994"/>
          </a:xfrm>
          <a:prstGeom prst="rect">
            <a:avLst/>
          </a:prstGeom>
          <a:noFill/>
        </p:spPr>
        <p:txBody>
          <a:bodyPr wrap="square" lIns="0" tIns="3600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FFFFFF"/>
                </a:solidFill>
                <a:latin typeface="Arial"/>
              </a:rPr>
              <a:t>6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1B570C-CF45-4D93-A9C4-B7DF63D1A039}"/>
              </a:ext>
            </a:extLst>
          </p:cNvPr>
          <p:cNvSpPr txBox="1"/>
          <p:nvPr/>
        </p:nvSpPr>
        <p:spPr>
          <a:xfrm>
            <a:off x="3061619" y="5304506"/>
            <a:ext cx="6540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>
                <a:solidFill>
                  <a:prstClr val="black"/>
                </a:solidFill>
                <a:latin typeface="Arial"/>
              </a:rPr>
              <a:t>ФК</a:t>
            </a:r>
            <a:r>
              <a:rPr lang="en-GB" sz="1000" dirty="0">
                <a:solidFill>
                  <a:prstClr val="black"/>
                </a:solidFill>
                <a:latin typeface="Arial"/>
              </a:rPr>
              <a:t> III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B0E7E2-10C9-4F35-B213-9DB55CF2D4C1}"/>
              </a:ext>
            </a:extLst>
          </p:cNvPr>
          <p:cNvSpPr/>
          <p:nvPr/>
        </p:nvSpPr>
        <p:spPr>
          <a:xfrm>
            <a:off x="2087097" y="4325893"/>
            <a:ext cx="654092" cy="904577"/>
          </a:xfrm>
          <a:prstGeom prst="rect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A70588A-7556-449D-B848-DBF7EE3B195F}"/>
              </a:ext>
            </a:extLst>
          </p:cNvPr>
          <p:cNvSpPr txBox="1"/>
          <p:nvPr/>
        </p:nvSpPr>
        <p:spPr>
          <a:xfrm>
            <a:off x="2089469" y="4352688"/>
            <a:ext cx="654092" cy="412994"/>
          </a:xfrm>
          <a:prstGeom prst="rect">
            <a:avLst/>
          </a:prstGeom>
          <a:noFill/>
        </p:spPr>
        <p:txBody>
          <a:bodyPr wrap="square" lIns="0" tIns="36000" rIns="0" bIns="0" rtlCol="0">
            <a:spAutoFit/>
          </a:bodyPr>
          <a:lstStyle/>
          <a:p>
            <a:pPr algn="ctr"/>
            <a:r>
              <a:rPr lang="en-GB" sz="1200" dirty="0">
                <a:solidFill>
                  <a:srgbClr val="FFFFFF"/>
                </a:solidFill>
                <a:latin typeface="Arial"/>
              </a:rPr>
              <a:t>22.7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3C5579F-CF10-45C8-A260-40F4E61ABDD2}"/>
              </a:ext>
            </a:extLst>
          </p:cNvPr>
          <p:cNvSpPr txBox="1"/>
          <p:nvPr/>
        </p:nvSpPr>
        <p:spPr>
          <a:xfrm>
            <a:off x="2087098" y="5304506"/>
            <a:ext cx="6540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>
                <a:solidFill>
                  <a:prstClr val="black"/>
                </a:solidFill>
                <a:latin typeface="Arial"/>
              </a:rPr>
              <a:t>ФК</a:t>
            </a:r>
            <a:r>
              <a:rPr lang="en-GB" sz="1000" dirty="0">
                <a:solidFill>
                  <a:prstClr val="black"/>
                </a:solidFill>
                <a:latin typeface="Arial"/>
              </a:rPr>
              <a:t> I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790B6C-93DF-491B-8114-21A9016868EF}"/>
              </a:ext>
            </a:extLst>
          </p:cNvPr>
          <p:cNvSpPr/>
          <p:nvPr/>
        </p:nvSpPr>
        <p:spPr>
          <a:xfrm>
            <a:off x="1114945" y="5069655"/>
            <a:ext cx="654092" cy="160815"/>
          </a:xfrm>
          <a:prstGeom prst="rect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C927062-9DB7-451B-8C83-900364088F57}"/>
              </a:ext>
            </a:extLst>
          </p:cNvPr>
          <p:cNvSpPr txBox="1"/>
          <p:nvPr/>
        </p:nvSpPr>
        <p:spPr>
          <a:xfrm>
            <a:off x="1104283" y="4826648"/>
            <a:ext cx="654092" cy="2210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algn="ctr"/>
            <a:r>
              <a:rPr lang="en-GB" sz="1200" dirty="0">
                <a:solidFill>
                  <a:srgbClr val="5160AB"/>
                </a:solidFill>
                <a:latin typeface="Arial"/>
              </a:rPr>
              <a:t>3.8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75A86EC-A0D6-4B7B-91A4-AD8596F7A0E5}"/>
              </a:ext>
            </a:extLst>
          </p:cNvPr>
          <p:cNvSpPr txBox="1"/>
          <p:nvPr/>
        </p:nvSpPr>
        <p:spPr>
          <a:xfrm>
            <a:off x="1114947" y="5304506"/>
            <a:ext cx="6540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>
                <a:solidFill>
                  <a:prstClr val="black"/>
                </a:solidFill>
                <a:latin typeface="Arial"/>
              </a:rPr>
              <a:t>ФК</a:t>
            </a:r>
            <a:r>
              <a:rPr lang="en-GB" sz="1000" dirty="0">
                <a:solidFill>
                  <a:prstClr val="black"/>
                </a:solidFill>
                <a:latin typeface="Arial"/>
              </a:rPr>
              <a:t> I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D74878B-7358-4424-BE8C-7A374EDECEE7}"/>
              </a:ext>
            </a:extLst>
          </p:cNvPr>
          <p:cNvSpPr txBox="1"/>
          <p:nvPr/>
        </p:nvSpPr>
        <p:spPr>
          <a:xfrm>
            <a:off x="7391428" y="5304506"/>
            <a:ext cx="4933951" cy="265815"/>
          </a:xfrm>
          <a:prstGeom prst="rect">
            <a:avLst/>
          </a:prstGeom>
          <a:noFill/>
        </p:spPr>
        <p:txBody>
          <a:bodyPr wrap="square" lIns="0" tIns="0" rIns="0" bIns="0" numCol="6" rtlCol="0">
            <a:noAutofit/>
          </a:bodyPr>
          <a:lstStyle/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0</a:t>
            </a:r>
          </a:p>
          <a:p>
            <a:endParaRPr lang="en-GB" sz="1000" dirty="0">
              <a:solidFill>
                <a:prstClr val="black"/>
              </a:solidFill>
              <a:latin typeface="Arial"/>
            </a:endParaRPr>
          </a:p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1</a:t>
            </a:r>
          </a:p>
          <a:p>
            <a:endParaRPr lang="en-GB" sz="1000" dirty="0">
              <a:solidFill>
                <a:prstClr val="black"/>
              </a:solidFill>
              <a:latin typeface="Arial"/>
            </a:endParaRPr>
          </a:p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2</a:t>
            </a:r>
          </a:p>
          <a:p>
            <a:endParaRPr lang="en-GB" sz="1000" dirty="0">
              <a:solidFill>
                <a:prstClr val="black"/>
              </a:solidFill>
              <a:latin typeface="Arial"/>
            </a:endParaRPr>
          </a:p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3</a:t>
            </a:r>
          </a:p>
          <a:p>
            <a:endParaRPr lang="en-GB" sz="1000" dirty="0">
              <a:solidFill>
                <a:prstClr val="black"/>
              </a:solidFill>
              <a:latin typeface="Arial"/>
            </a:endParaRPr>
          </a:p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4</a:t>
            </a:r>
          </a:p>
          <a:p>
            <a:endParaRPr lang="en-GB" sz="1000" dirty="0">
              <a:solidFill>
                <a:prstClr val="black"/>
              </a:solidFill>
              <a:latin typeface="Arial"/>
            </a:endParaRPr>
          </a:p>
          <a:p>
            <a:r>
              <a:rPr lang="en-GB" sz="1000" dirty="0">
                <a:solidFill>
                  <a:prstClr val="black"/>
                </a:solidFill>
                <a:latin typeface="Arial"/>
              </a:rPr>
              <a:t>5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7FB0813-5380-4E50-A394-7605B690F7E7}"/>
              </a:ext>
            </a:extLst>
          </p:cNvPr>
          <p:cNvCxnSpPr/>
          <p:nvPr/>
        </p:nvCxnSpPr>
        <p:spPr>
          <a:xfrm flipH="1">
            <a:off x="1" y="5227227"/>
            <a:ext cx="12191999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30" name="Freeform 5">
            <a:extLst>
              <a:ext uri="{FF2B5EF4-FFF2-40B4-BE49-F238E27FC236}">
                <a16:creationId xmlns:a16="http://schemas.microsoft.com/office/drawing/2014/main" id="{2187CD8C-79DF-4042-B77C-FA3ACDD144B1}"/>
              </a:ext>
            </a:extLst>
          </p:cNvPr>
          <p:cNvSpPr>
            <a:spLocks/>
          </p:cNvSpPr>
          <p:nvPr/>
        </p:nvSpPr>
        <p:spPr bwMode="auto">
          <a:xfrm>
            <a:off x="7424767" y="2739477"/>
            <a:ext cx="4117975" cy="678167"/>
          </a:xfrm>
          <a:custGeom>
            <a:avLst/>
            <a:gdLst>
              <a:gd name="T0" fmla="*/ 0 w 2594"/>
              <a:gd name="T1" fmla="*/ 0 h 398"/>
              <a:gd name="T2" fmla="*/ 378 w 2594"/>
              <a:gd name="T3" fmla="*/ 0 h 398"/>
              <a:gd name="T4" fmla="*/ 378 w 2594"/>
              <a:gd name="T5" fmla="*/ 57 h 398"/>
              <a:gd name="T6" fmla="*/ 1068 w 2594"/>
              <a:gd name="T7" fmla="*/ 57 h 398"/>
              <a:gd name="T8" fmla="*/ 1068 w 2594"/>
              <a:gd name="T9" fmla="*/ 117 h 398"/>
              <a:gd name="T10" fmla="*/ 1112 w 2594"/>
              <a:gd name="T11" fmla="*/ 117 h 398"/>
              <a:gd name="T12" fmla="*/ 1112 w 2594"/>
              <a:gd name="T13" fmla="*/ 184 h 398"/>
              <a:gd name="T14" fmla="*/ 1234 w 2594"/>
              <a:gd name="T15" fmla="*/ 184 h 398"/>
              <a:gd name="T16" fmla="*/ 1234 w 2594"/>
              <a:gd name="T17" fmla="*/ 259 h 398"/>
              <a:gd name="T18" fmla="*/ 1321 w 2594"/>
              <a:gd name="T19" fmla="*/ 259 h 398"/>
              <a:gd name="T20" fmla="*/ 1321 w 2594"/>
              <a:gd name="T21" fmla="*/ 328 h 398"/>
              <a:gd name="T22" fmla="*/ 1477 w 2594"/>
              <a:gd name="T23" fmla="*/ 328 h 398"/>
              <a:gd name="T24" fmla="*/ 1477 w 2594"/>
              <a:gd name="T25" fmla="*/ 398 h 398"/>
              <a:gd name="T26" fmla="*/ 2594 w 2594"/>
              <a:gd name="T27" fmla="*/ 398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94" h="398">
                <a:moveTo>
                  <a:pt x="0" y="0"/>
                </a:moveTo>
                <a:lnTo>
                  <a:pt x="378" y="0"/>
                </a:lnTo>
                <a:lnTo>
                  <a:pt x="378" y="57"/>
                </a:lnTo>
                <a:lnTo>
                  <a:pt x="1068" y="57"/>
                </a:lnTo>
                <a:lnTo>
                  <a:pt x="1068" y="117"/>
                </a:lnTo>
                <a:lnTo>
                  <a:pt x="1112" y="117"/>
                </a:lnTo>
                <a:lnTo>
                  <a:pt x="1112" y="184"/>
                </a:lnTo>
                <a:lnTo>
                  <a:pt x="1234" y="184"/>
                </a:lnTo>
                <a:lnTo>
                  <a:pt x="1234" y="259"/>
                </a:lnTo>
                <a:lnTo>
                  <a:pt x="1321" y="259"/>
                </a:lnTo>
                <a:lnTo>
                  <a:pt x="1321" y="328"/>
                </a:lnTo>
                <a:lnTo>
                  <a:pt x="1477" y="328"/>
                </a:lnTo>
                <a:lnTo>
                  <a:pt x="1477" y="398"/>
                </a:lnTo>
                <a:lnTo>
                  <a:pt x="2594" y="398"/>
                </a:lnTo>
              </a:path>
            </a:pathLst>
          </a:custGeom>
          <a:noFill/>
          <a:ln w="25400" cap="flat">
            <a:solidFill>
              <a:srgbClr val="66D5E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1C45EC7-D3C5-4DFA-B729-30D27083EC83}"/>
              </a:ext>
            </a:extLst>
          </p:cNvPr>
          <p:cNvSpPr/>
          <p:nvPr/>
        </p:nvSpPr>
        <p:spPr>
          <a:xfrm>
            <a:off x="7172354" y="2380250"/>
            <a:ext cx="552450" cy="55245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EA0991B-3EB6-4892-BF1F-5B515857CE92}"/>
              </a:ext>
            </a:extLst>
          </p:cNvPr>
          <p:cNvSpPr txBox="1"/>
          <p:nvPr/>
        </p:nvSpPr>
        <p:spPr>
          <a:xfrm>
            <a:off x="7153304" y="2570863"/>
            <a:ext cx="6000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100%</a:t>
            </a:r>
          </a:p>
        </p:txBody>
      </p:sp>
      <p:sp>
        <p:nvSpPr>
          <p:cNvPr id="33" name="Freeform 45">
            <a:extLst>
              <a:ext uri="{FF2B5EF4-FFF2-40B4-BE49-F238E27FC236}">
                <a16:creationId xmlns:a16="http://schemas.microsoft.com/office/drawing/2014/main" id="{70571F9F-537E-4DCD-AC19-AE00D8CED81E}"/>
              </a:ext>
            </a:extLst>
          </p:cNvPr>
          <p:cNvSpPr/>
          <p:nvPr/>
        </p:nvSpPr>
        <p:spPr>
          <a:xfrm>
            <a:off x="42723" y="1691336"/>
            <a:ext cx="4020669" cy="742752"/>
          </a:xfrm>
          <a:custGeom>
            <a:avLst/>
            <a:gdLst>
              <a:gd name="connsiteX0" fmla="*/ 0 w 9940129"/>
              <a:gd name="connsiteY0" fmla="*/ 0 h 522104"/>
              <a:gd name="connsiteX1" fmla="*/ 9940129 w 9940129"/>
              <a:gd name="connsiteY1" fmla="*/ 0 h 522104"/>
              <a:gd name="connsiteX2" fmla="*/ 9940129 w 9940129"/>
              <a:gd name="connsiteY2" fmla="*/ 359766 h 522104"/>
              <a:gd name="connsiteX3" fmla="*/ 9777791 w 9940129"/>
              <a:gd name="connsiteY3" fmla="*/ 522104 h 522104"/>
              <a:gd name="connsiteX4" fmla="*/ 0 w 9940129"/>
              <a:gd name="connsiteY4" fmla="*/ 522104 h 52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0129" h="522104">
                <a:moveTo>
                  <a:pt x="0" y="0"/>
                </a:moveTo>
                <a:lnTo>
                  <a:pt x="9940129" y="0"/>
                </a:lnTo>
                <a:lnTo>
                  <a:pt x="9940129" y="359766"/>
                </a:lnTo>
                <a:lnTo>
                  <a:pt x="9777791" y="522104"/>
                </a:lnTo>
                <a:lnTo>
                  <a:pt x="0" y="522104"/>
                </a:lnTo>
                <a:close/>
              </a:path>
            </a:pathLst>
          </a:custGeom>
          <a:solidFill>
            <a:srgbClr val="808285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504000" rtlCol="0" anchor="ctr"/>
          <a:lstStyle/>
          <a:p>
            <a:r>
              <a:rPr kumimoji="0" lang="ru-RU" sz="140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При постановке диагноза большинство пациентов </a:t>
            </a:r>
            <a:r>
              <a:rPr lang="ru-RU" sz="1400" kern="0" dirty="0">
                <a:solidFill>
                  <a:schemeClr val="accent1">
                    <a:lumMod val="50000"/>
                  </a:schemeClr>
                </a:solidFill>
                <a:latin typeface="Arial"/>
              </a:rPr>
              <a:t>находятся </a:t>
            </a:r>
            <a:r>
              <a:rPr lang="ru-RU" sz="1400" u="sng" kern="0" dirty="0">
                <a:solidFill>
                  <a:schemeClr val="accent1">
                    <a:lumMod val="50000"/>
                  </a:schemeClr>
                </a:solidFill>
                <a:latin typeface="Arial"/>
              </a:rPr>
              <a:t>в </a:t>
            </a:r>
            <a:r>
              <a:rPr lang="en-US" sz="1400" u="sng" kern="0" dirty="0">
                <a:solidFill>
                  <a:schemeClr val="accent1">
                    <a:lumMod val="50000"/>
                  </a:schemeClr>
                </a:solidFill>
                <a:latin typeface="Arial"/>
              </a:rPr>
              <a:t>III </a:t>
            </a:r>
            <a:r>
              <a:rPr lang="ru-RU" sz="1400" u="sng" kern="0" dirty="0">
                <a:solidFill>
                  <a:schemeClr val="accent1">
                    <a:lumMod val="50000"/>
                  </a:schemeClr>
                </a:solidFill>
                <a:latin typeface="Arial"/>
              </a:rPr>
              <a:t>ФК</a:t>
            </a:r>
            <a:endParaRPr kumimoji="0" lang="ru-RU" sz="1400" i="0" u="sng" strike="noStrike" kern="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D283E88-2E6F-4483-8652-5590D4575069}"/>
              </a:ext>
            </a:extLst>
          </p:cNvPr>
          <p:cNvSpPr txBox="1"/>
          <p:nvPr/>
        </p:nvSpPr>
        <p:spPr>
          <a:xfrm>
            <a:off x="1224968" y="2520065"/>
            <a:ext cx="507203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Функциональный класс на момент постановки диагноза</a:t>
            </a:r>
            <a:endParaRPr lang="ru-RU" sz="1400" baseline="30000" dirty="0">
              <a:solidFill>
                <a:prstClr val="black">
                  <a:lumMod val="75000"/>
                  <a:lumOff val="25000"/>
                </a:prstClr>
              </a:solidFill>
              <a:latin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7394B2-7486-4C03-91C1-6BBC6502EAEF}"/>
              </a:ext>
            </a:extLst>
          </p:cNvPr>
          <p:cNvSpPr txBox="1"/>
          <p:nvPr/>
        </p:nvSpPr>
        <p:spPr>
          <a:xfrm rot="16200000">
            <a:off x="-202784" y="4232320"/>
            <a:ext cx="1769035" cy="251671"/>
          </a:xfrm>
          <a:prstGeom prst="rect">
            <a:avLst/>
          </a:prstGeom>
          <a:noFill/>
        </p:spPr>
        <p:txBody>
          <a:bodyPr wrap="square" lIns="180000" tIns="0" rIns="0" bIns="0" rtlCol="0">
            <a:noAutofit/>
          </a:bodyPr>
          <a:lstStyle>
            <a:defPPr>
              <a:defRPr lang="ru-RU"/>
            </a:defPPr>
            <a:lvl1pPr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1219170">
              <a:defRPr/>
            </a:pPr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Доля пациентов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AD67B36-F841-49B5-8062-137FF579D9FB}"/>
              </a:ext>
            </a:extLst>
          </p:cNvPr>
          <p:cNvSpPr txBox="1"/>
          <p:nvPr/>
        </p:nvSpPr>
        <p:spPr>
          <a:xfrm>
            <a:off x="4496302" y="3000361"/>
            <a:ext cx="2050470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600" dirty="0">
                <a:solidFill>
                  <a:srgbClr val="C00000"/>
                </a:solidFill>
                <a:latin typeface="Arial"/>
              </a:rPr>
              <a:t>Задержка в диагностике ЛАГ может повлиять на прогноз жизни пациента</a:t>
            </a:r>
            <a:r>
              <a:rPr lang="ru-RU" sz="1600" baseline="30000" dirty="0">
                <a:solidFill>
                  <a:srgbClr val="C00000"/>
                </a:solidFill>
                <a:latin typeface="Arial"/>
              </a:rPr>
              <a:t>1,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34D62C7-F673-4BE1-83A0-57AAC1E48832}"/>
              </a:ext>
            </a:extLst>
          </p:cNvPr>
          <p:cNvSpPr txBox="1"/>
          <p:nvPr/>
        </p:nvSpPr>
        <p:spPr>
          <a:xfrm>
            <a:off x="7819895" y="1945653"/>
            <a:ext cx="368289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Оценка выживаемости у пациентов с впервые выявленным заболеванием в зависимости от ФК</a:t>
            </a:r>
            <a:endParaRPr lang="ru-RU" sz="1400" b="1" baseline="30000" dirty="0">
              <a:solidFill>
                <a:prstClr val="black">
                  <a:lumMod val="75000"/>
                  <a:lumOff val="25000"/>
                </a:prstClr>
              </a:solidFill>
              <a:latin typeface="Arial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57C6ADF-E562-41F6-B2DE-7C9045D16D7A}"/>
              </a:ext>
            </a:extLst>
          </p:cNvPr>
          <p:cNvSpPr txBox="1"/>
          <p:nvPr/>
        </p:nvSpPr>
        <p:spPr>
          <a:xfrm rot="16200000">
            <a:off x="5847157" y="3704023"/>
            <a:ext cx="2648544" cy="169277"/>
          </a:xfrm>
          <a:prstGeom prst="rect">
            <a:avLst/>
          </a:prstGeom>
          <a:noFill/>
        </p:spPr>
        <p:txBody>
          <a:bodyPr wrap="square" lIns="180000" tIns="0" rIns="0" bIns="0" rtlCol="0">
            <a:spAutoFit/>
          </a:bodyPr>
          <a:lstStyle/>
          <a:p>
            <a:pPr defTabSz="1219170">
              <a:defRPr/>
            </a:pPr>
            <a:r>
              <a:rPr lang="ru-RU" sz="110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роцент выживших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89E0CDE-2232-4B57-A016-1391438E37AD}"/>
              </a:ext>
            </a:extLst>
          </p:cNvPr>
          <p:cNvSpPr txBox="1"/>
          <p:nvPr/>
        </p:nvSpPr>
        <p:spPr>
          <a:xfrm>
            <a:off x="7548792" y="5515408"/>
            <a:ext cx="414932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200" b="1" dirty="0">
                <a:solidFill>
                  <a:prstClr val="black"/>
                </a:solidFill>
                <a:latin typeface="Arial"/>
              </a:rPr>
              <a:t>Время</a:t>
            </a:r>
            <a:r>
              <a:rPr lang="ru-RU" sz="1200" dirty="0">
                <a:solidFill>
                  <a:prstClr val="black"/>
                </a:solidFill>
                <a:latin typeface="Arial"/>
              </a:rPr>
              <a:t> с момента постановки диагноза ЛАГ, годы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A3AB9382-B71D-4D36-BDE9-37F96EE19BDA}"/>
              </a:ext>
            </a:extLst>
          </p:cNvPr>
          <p:cNvSpPr txBox="1">
            <a:spLocks/>
          </p:cNvSpPr>
          <p:nvPr/>
        </p:nvSpPr>
        <p:spPr>
          <a:xfrm>
            <a:off x="47421" y="5483028"/>
            <a:ext cx="6494248" cy="2162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нализ пациентов с впервые выявленным заболеванием в регистре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AL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US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, включенных с 2006 года по 2009 год (n=710)</a:t>
            </a:r>
          </a:p>
        </p:txBody>
      </p:sp>
      <p:sp>
        <p:nvSpPr>
          <p:cNvPr id="42" name="Speech Bubble: Rectangle 41">
            <a:extLst>
              <a:ext uri="{FF2B5EF4-FFF2-40B4-BE49-F238E27FC236}">
                <a16:creationId xmlns:a16="http://schemas.microsoft.com/office/drawing/2014/main" id="{30AF91DD-97A2-48D4-B831-3339E836C54E}"/>
              </a:ext>
            </a:extLst>
          </p:cNvPr>
          <p:cNvSpPr/>
          <p:nvPr/>
        </p:nvSpPr>
        <p:spPr>
          <a:xfrm>
            <a:off x="4453081" y="2988941"/>
            <a:ext cx="2001499" cy="1385583"/>
          </a:xfrm>
          <a:prstGeom prst="wedgeRectCallou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0308D29-13C6-4907-A1A0-40E104438655}"/>
              </a:ext>
            </a:extLst>
          </p:cNvPr>
          <p:cNvSpPr/>
          <p:nvPr/>
        </p:nvSpPr>
        <p:spPr bwMode="auto">
          <a:xfrm rot="5400000" flipV="1">
            <a:off x="2021506" y="3677700"/>
            <a:ext cx="2684838" cy="951347"/>
          </a:xfrm>
          <a:prstGeom prst="ellipse">
            <a:avLst/>
          </a:prstGeom>
          <a:noFill/>
          <a:ln w="12700">
            <a:solidFill>
              <a:srgbClr val="FF0000"/>
            </a:solidFill>
            <a:prstDash val="dash"/>
          </a:ln>
        </p:spPr>
        <p:txBody>
          <a:bodyPr vert="horz" wrap="square" lIns="13500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sz="1050" baseline="3000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1956D1F-E271-4A1B-9091-8D0B69F738B9}"/>
              </a:ext>
            </a:extLst>
          </p:cNvPr>
          <p:cNvSpPr/>
          <p:nvPr/>
        </p:nvSpPr>
        <p:spPr>
          <a:xfrm>
            <a:off x="285983" y="834029"/>
            <a:ext cx="111963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выше функциональный класс при ЛАГ на момент постановки диагноза, тем выше  летальность по данным REVEAL</a:t>
            </a:r>
          </a:p>
        </p:txBody>
      </p:sp>
    </p:spTree>
    <p:extLst>
      <p:ext uri="{BB962C8B-B14F-4D97-AF65-F5344CB8AC3E}">
        <p14:creationId xmlns:p14="http://schemas.microsoft.com/office/powerpoint/2010/main" val="4117139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47">
            <a:extLst>
              <a:ext uri="{FF2B5EF4-FFF2-40B4-BE49-F238E27FC236}">
                <a16:creationId xmlns:a16="http://schemas.microsoft.com/office/drawing/2014/main" id="{89F7806C-1638-477F-972E-31B5842BA2A7}"/>
              </a:ext>
            </a:extLst>
          </p:cNvPr>
          <p:cNvSpPr/>
          <p:nvPr/>
        </p:nvSpPr>
        <p:spPr>
          <a:xfrm>
            <a:off x="-1" y="2087006"/>
            <a:ext cx="7203040" cy="4369981"/>
          </a:xfrm>
          <a:prstGeom prst="homePlate">
            <a:avLst>
              <a:gd name="adj" fmla="val 11800"/>
            </a:avLst>
          </a:prstGeom>
          <a:solidFill>
            <a:srgbClr val="FFFFFF">
              <a:lumMod val="95000"/>
            </a:srgbClr>
          </a:solidFill>
          <a:ln>
            <a:noFill/>
          </a:ln>
        </p:spPr>
        <p:txBody>
          <a:bodyPr vert="horz" wrap="square" lIns="18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Freeform 43">
            <a:extLst>
              <a:ext uri="{FF2B5EF4-FFF2-40B4-BE49-F238E27FC236}">
                <a16:creationId xmlns:a16="http://schemas.microsoft.com/office/drawing/2014/main" id="{4CD3E697-5736-4E21-A7E6-54F529A148CA}"/>
              </a:ext>
            </a:extLst>
          </p:cNvPr>
          <p:cNvSpPr/>
          <p:nvPr/>
        </p:nvSpPr>
        <p:spPr>
          <a:xfrm>
            <a:off x="0" y="1895224"/>
            <a:ext cx="6696364" cy="764617"/>
          </a:xfrm>
          <a:custGeom>
            <a:avLst/>
            <a:gdLst>
              <a:gd name="connsiteX0" fmla="*/ 0 w 9940129"/>
              <a:gd name="connsiteY0" fmla="*/ 0 h 522104"/>
              <a:gd name="connsiteX1" fmla="*/ 9940129 w 9940129"/>
              <a:gd name="connsiteY1" fmla="*/ 0 h 522104"/>
              <a:gd name="connsiteX2" fmla="*/ 9940129 w 9940129"/>
              <a:gd name="connsiteY2" fmla="*/ 359766 h 522104"/>
              <a:gd name="connsiteX3" fmla="*/ 9777791 w 9940129"/>
              <a:gd name="connsiteY3" fmla="*/ 522104 h 522104"/>
              <a:gd name="connsiteX4" fmla="*/ 0 w 9940129"/>
              <a:gd name="connsiteY4" fmla="*/ 522104 h 52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0129" h="522104">
                <a:moveTo>
                  <a:pt x="0" y="0"/>
                </a:moveTo>
                <a:lnTo>
                  <a:pt x="9940129" y="0"/>
                </a:lnTo>
                <a:lnTo>
                  <a:pt x="9940129" y="359766"/>
                </a:lnTo>
                <a:lnTo>
                  <a:pt x="9777791" y="522104"/>
                </a:lnTo>
                <a:lnTo>
                  <a:pt x="0" y="522104"/>
                </a:lnTo>
                <a:close/>
              </a:path>
            </a:pathLst>
          </a:custGeom>
          <a:solidFill>
            <a:srgbClr val="808285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504000" rtlCol="0" anchor="ctr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 постановке диагноза большинство пациентов относят к группе </a:t>
            </a:r>
            <a:r>
              <a:rPr kumimoji="0" lang="ru-RU" sz="1600" b="0" i="0" u="sng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межуточного риска с 1-летней смертностью 5 - 10%</a:t>
            </a:r>
            <a:endParaRPr kumimoji="0" lang="ru-RU" sz="1600" b="0" i="0" u="sng" strike="noStrike" kern="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76F149-B631-4969-A0E6-BC76AA9EF0B7}"/>
              </a:ext>
            </a:extLst>
          </p:cNvPr>
          <p:cNvSpPr txBox="1"/>
          <p:nvPr/>
        </p:nvSpPr>
        <p:spPr>
          <a:xfrm>
            <a:off x="366422" y="2717117"/>
            <a:ext cx="48067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Категория риска на момент постановки диагноза</a:t>
            </a:r>
            <a:endParaRPr lang="ru-RU" sz="1400" baseline="30000" dirty="0">
              <a:solidFill>
                <a:prstClr val="black">
                  <a:lumMod val="75000"/>
                  <a:lumOff val="25000"/>
                </a:prstClr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F0EEAA-4A1B-4ECC-8246-660F32117A8C}"/>
              </a:ext>
            </a:extLst>
          </p:cNvPr>
          <p:cNvSpPr txBox="1"/>
          <p:nvPr/>
        </p:nvSpPr>
        <p:spPr>
          <a:xfrm>
            <a:off x="8029445" y="2477832"/>
            <a:ext cx="3532793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Оценка выживаемости у пациентов с впервые выявленным заболеванием в зависимости от группы риска</a:t>
            </a:r>
            <a:r>
              <a:rPr lang="ru-RU" sz="1400" b="1" baseline="300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EBD2B1-38D5-4E93-89C9-7989815DDED1}"/>
              </a:ext>
            </a:extLst>
          </p:cNvPr>
          <p:cNvSpPr/>
          <p:nvPr/>
        </p:nvSpPr>
        <p:spPr>
          <a:xfrm>
            <a:off x="2087097" y="3012440"/>
            <a:ext cx="654092" cy="2763316"/>
          </a:xfrm>
          <a:prstGeom prst="rect">
            <a:avLst/>
          </a:prstGeom>
          <a:solidFill>
            <a:srgbClr val="7E84C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7F94A0-3470-418A-8B43-D2955E5EAB39}"/>
              </a:ext>
            </a:extLst>
          </p:cNvPr>
          <p:cNvSpPr txBox="1"/>
          <p:nvPr/>
        </p:nvSpPr>
        <p:spPr>
          <a:xfrm>
            <a:off x="2089469" y="3030536"/>
            <a:ext cx="654092" cy="251795"/>
          </a:xfrm>
          <a:prstGeom prst="rect">
            <a:avLst/>
          </a:prstGeom>
          <a:noFill/>
        </p:spPr>
        <p:txBody>
          <a:bodyPr wrap="square" lIns="0" tIns="36000" rIns="0" bIns="0" rtlCol="0">
            <a:spAutoFit/>
          </a:bodyPr>
          <a:lstStyle/>
          <a:p>
            <a:pPr algn="ctr" defTabSz="1219170"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70,2%</a:t>
            </a:r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8D4AB2C7-4198-4712-8804-BEE882E6AE4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294200" y="3217717"/>
            <a:ext cx="4181475" cy="170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ru-RU" sz="2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AC8F37F7-1236-46B4-89BC-E99D3C89CA00}"/>
              </a:ext>
            </a:extLst>
          </p:cNvPr>
          <p:cNvSpPr>
            <a:spLocks/>
          </p:cNvSpPr>
          <p:nvPr/>
        </p:nvSpPr>
        <p:spPr bwMode="auto">
          <a:xfrm>
            <a:off x="7300550" y="3228829"/>
            <a:ext cx="4168775" cy="1190625"/>
          </a:xfrm>
          <a:custGeom>
            <a:avLst/>
            <a:gdLst>
              <a:gd name="T0" fmla="*/ 740 w 740"/>
              <a:gd name="T1" fmla="*/ 332 h 332"/>
              <a:gd name="T2" fmla="*/ 732 w 740"/>
              <a:gd name="T3" fmla="*/ 332 h 332"/>
              <a:gd name="T4" fmla="*/ 727 w 740"/>
              <a:gd name="T5" fmla="*/ 332 h 332"/>
              <a:gd name="T6" fmla="*/ 720 w 740"/>
              <a:gd name="T7" fmla="*/ 324 h 332"/>
              <a:gd name="T8" fmla="*/ 712 w 740"/>
              <a:gd name="T9" fmla="*/ 324 h 332"/>
              <a:gd name="T10" fmla="*/ 706 w 740"/>
              <a:gd name="T11" fmla="*/ 324 h 332"/>
              <a:gd name="T12" fmla="*/ 698 w 740"/>
              <a:gd name="T13" fmla="*/ 322 h 332"/>
              <a:gd name="T14" fmla="*/ 689 w 740"/>
              <a:gd name="T15" fmla="*/ 322 h 332"/>
              <a:gd name="T16" fmla="*/ 679 w 740"/>
              <a:gd name="T17" fmla="*/ 316 h 332"/>
              <a:gd name="T18" fmla="*/ 666 w 740"/>
              <a:gd name="T19" fmla="*/ 308 h 332"/>
              <a:gd name="T20" fmla="*/ 657 w 740"/>
              <a:gd name="T21" fmla="*/ 300 h 332"/>
              <a:gd name="T22" fmla="*/ 647 w 740"/>
              <a:gd name="T23" fmla="*/ 291 h 332"/>
              <a:gd name="T24" fmla="*/ 637 w 740"/>
              <a:gd name="T25" fmla="*/ 286 h 332"/>
              <a:gd name="T26" fmla="*/ 624 w 740"/>
              <a:gd name="T27" fmla="*/ 281 h 332"/>
              <a:gd name="T28" fmla="*/ 607 w 740"/>
              <a:gd name="T29" fmla="*/ 278 h 332"/>
              <a:gd name="T30" fmla="*/ 591 w 740"/>
              <a:gd name="T31" fmla="*/ 275 h 332"/>
              <a:gd name="T32" fmla="*/ 573 w 740"/>
              <a:gd name="T33" fmla="*/ 271 h 332"/>
              <a:gd name="T34" fmla="*/ 555 w 740"/>
              <a:gd name="T35" fmla="*/ 267 h 332"/>
              <a:gd name="T36" fmla="*/ 544 w 740"/>
              <a:gd name="T37" fmla="*/ 262 h 332"/>
              <a:gd name="T38" fmla="*/ 532 w 740"/>
              <a:gd name="T39" fmla="*/ 262 h 332"/>
              <a:gd name="T40" fmla="*/ 517 w 740"/>
              <a:gd name="T41" fmla="*/ 254 h 332"/>
              <a:gd name="T42" fmla="*/ 506 w 740"/>
              <a:gd name="T43" fmla="*/ 249 h 332"/>
              <a:gd name="T44" fmla="*/ 471 w 740"/>
              <a:gd name="T45" fmla="*/ 243 h 332"/>
              <a:gd name="T46" fmla="*/ 439 w 740"/>
              <a:gd name="T47" fmla="*/ 219 h 332"/>
              <a:gd name="T48" fmla="*/ 432 w 740"/>
              <a:gd name="T49" fmla="*/ 213 h 332"/>
              <a:gd name="T50" fmla="*/ 417 w 740"/>
              <a:gd name="T51" fmla="*/ 206 h 332"/>
              <a:gd name="T52" fmla="*/ 401 w 740"/>
              <a:gd name="T53" fmla="*/ 195 h 332"/>
              <a:gd name="T54" fmla="*/ 380 w 740"/>
              <a:gd name="T55" fmla="*/ 180 h 332"/>
              <a:gd name="T56" fmla="*/ 345 w 740"/>
              <a:gd name="T57" fmla="*/ 159 h 332"/>
              <a:gd name="T58" fmla="*/ 332 w 740"/>
              <a:gd name="T59" fmla="*/ 151 h 332"/>
              <a:gd name="T60" fmla="*/ 323 w 740"/>
              <a:gd name="T61" fmla="*/ 146 h 332"/>
              <a:gd name="T62" fmla="*/ 306 w 740"/>
              <a:gd name="T63" fmla="*/ 141 h 332"/>
              <a:gd name="T64" fmla="*/ 288 w 740"/>
              <a:gd name="T65" fmla="*/ 136 h 332"/>
              <a:gd name="T66" fmla="*/ 275 w 740"/>
              <a:gd name="T67" fmla="*/ 129 h 332"/>
              <a:gd name="T68" fmla="*/ 249 w 740"/>
              <a:gd name="T69" fmla="*/ 109 h 332"/>
              <a:gd name="T70" fmla="*/ 234 w 740"/>
              <a:gd name="T71" fmla="*/ 102 h 332"/>
              <a:gd name="T72" fmla="*/ 192 w 740"/>
              <a:gd name="T73" fmla="*/ 87 h 332"/>
              <a:gd name="T74" fmla="*/ 161 w 740"/>
              <a:gd name="T75" fmla="*/ 74 h 332"/>
              <a:gd name="T76" fmla="*/ 140 w 740"/>
              <a:gd name="T77" fmla="*/ 67 h 332"/>
              <a:gd name="T78" fmla="*/ 123 w 740"/>
              <a:gd name="T79" fmla="*/ 61 h 332"/>
              <a:gd name="T80" fmla="*/ 106 w 740"/>
              <a:gd name="T81" fmla="*/ 56 h 332"/>
              <a:gd name="T82" fmla="*/ 82 w 740"/>
              <a:gd name="T83" fmla="*/ 42 h 332"/>
              <a:gd name="T84" fmla="*/ 62 w 740"/>
              <a:gd name="T85" fmla="*/ 26 h 332"/>
              <a:gd name="T86" fmla="*/ 52 w 740"/>
              <a:gd name="T87" fmla="*/ 21 h 332"/>
              <a:gd name="T88" fmla="*/ 34 w 740"/>
              <a:gd name="T89" fmla="*/ 15 h 332"/>
              <a:gd name="T90" fmla="*/ 4 w 740"/>
              <a:gd name="T91" fmla="*/ 0 h 332"/>
              <a:gd name="T92" fmla="*/ 0 w 740"/>
              <a:gd name="T93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40" h="332">
                <a:moveTo>
                  <a:pt x="740" y="332"/>
                </a:moveTo>
                <a:cubicBezTo>
                  <a:pt x="732" y="332"/>
                  <a:pt x="732" y="332"/>
                  <a:pt x="732" y="332"/>
                </a:cubicBezTo>
                <a:cubicBezTo>
                  <a:pt x="727" y="332"/>
                  <a:pt x="727" y="332"/>
                  <a:pt x="727" y="332"/>
                </a:cubicBezTo>
                <a:cubicBezTo>
                  <a:pt x="720" y="324"/>
                  <a:pt x="720" y="324"/>
                  <a:pt x="720" y="324"/>
                </a:cubicBezTo>
                <a:cubicBezTo>
                  <a:pt x="712" y="324"/>
                  <a:pt x="712" y="324"/>
                  <a:pt x="712" y="324"/>
                </a:cubicBezTo>
                <a:cubicBezTo>
                  <a:pt x="706" y="324"/>
                  <a:pt x="706" y="324"/>
                  <a:pt x="706" y="324"/>
                </a:cubicBezTo>
                <a:cubicBezTo>
                  <a:pt x="698" y="322"/>
                  <a:pt x="698" y="322"/>
                  <a:pt x="698" y="322"/>
                </a:cubicBezTo>
                <a:cubicBezTo>
                  <a:pt x="689" y="322"/>
                  <a:pt x="689" y="322"/>
                  <a:pt x="689" y="322"/>
                </a:cubicBezTo>
                <a:cubicBezTo>
                  <a:pt x="689" y="322"/>
                  <a:pt x="681" y="318"/>
                  <a:pt x="679" y="316"/>
                </a:cubicBezTo>
                <a:cubicBezTo>
                  <a:pt x="677" y="315"/>
                  <a:pt x="666" y="308"/>
                  <a:pt x="666" y="308"/>
                </a:cubicBezTo>
                <a:cubicBezTo>
                  <a:pt x="657" y="300"/>
                  <a:pt x="657" y="300"/>
                  <a:pt x="657" y="300"/>
                </a:cubicBezTo>
                <a:cubicBezTo>
                  <a:pt x="647" y="291"/>
                  <a:pt x="647" y="291"/>
                  <a:pt x="647" y="291"/>
                </a:cubicBezTo>
                <a:cubicBezTo>
                  <a:pt x="637" y="286"/>
                  <a:pt x="637" y="286"/>
                  <a:pt x="637" y="286"/>
                </a:cubicBezTo>
                <a:cubicBezTo>
                  <a:pt x="624" y="281"/>
                  <a:pt x="624" y="281"/>
                  <a:pt x="624" y="281"/>
                </a:cubicBezTo>
                <a:cubicBezTo>
                  <a:pt x="607" y="278"/>
                  <a:pt x="607" y="278"/>
                  <a:pt x="607" y="278"/>
                </a:cubicBezTo>
                <a:cubicBezTo>
                  <a:pt x="591" y="275"/>
                  <a:pt x="591" y="275"/>
                  <a:pt x="591" y="275"/>
                </a:cubicBezTo>
                <a:cubicBezTo>
                  <a:pt x="573" y="271"/>
                  <a:pt x="573" y="271"/>
                  <a:pt x="573" y="271"/>
                </a:cubicBezTo>
                <a:cubicBezTo>
                  <a:pt x="555" y="267"/>
                  <a:pt x="555" y="267"/>
                  <a:pt x="555" y="267"/>
                </a:cubicBezTo>
                <a:cubicBezTo>
                  <a:pt x="544" y="262"/>
                  <a:pt x="544" y="262"/>
                  <a:pt x="544" y="262"/>
                </a:cubicBezTo>
                <a:cubicBezTo>
                  <a:pt x="532" y="262"/>
                  <a:pt x="532" y="262"/>
                  <a:pt x="532" y="262"/>
                </a:cubicBezTo>
                <a:cubicBezTo>
                  <a:pt x="517" y="254"/>
                  <a:pt x="517" y="254"/>
                  <a:pt x="517" y="254"/>
                </a:cubicBezTo>
                <a:cubicBezTo>
                  <a:pt x="506" y="249"/>
                  <a:pt x="506" y="249"/>
                  <a:pt x="506" y="249"/>
                </a:cubicBezTo>
                <a:cubicBezTo>
                  <a:pt x="471" y="243"/>
                  <a:pt x="471" y="243"/>
                  <a:pt x="471" y="243"/>
                </a:cubicBezTo>
                <a:cubicBezTo>
                  <a:pt x="439" y="219"/>
                  <a:pt x="439" y="219"/>
                  <a:pt x="439" y="219"/>
                </a:cubicBezTo>
                <a:cubicBezTo>
                  <a:pt x="432" y="213"/>
                  <a:pt x="432" y="213"/>
                  <a:pt x="432" y="213"/>
                </a:cubicBezTo>
                <a:cubicBezTo>
                  <a:pt x="417" y="206"/>
                  <a:pt x="417" y="206"/>
                  <a:pt x="417" y="206"/>
                </a:cubicBezTo>
                <a:cubicBezTo>
                  <a:pt x="401" y="195"/>
                  <a:pt x="401" y="195"/>
                  <a:pt x="401" y="195"/>
                </a:cubicBezTo>
                <a:cubicBezTo>
                  <a:pt x="380" y="180"/>
                  <a:pt x="380" y="180"/>
                  <a:pt x="380" y="180"/>
                </a:cubicBezTo>
                <a:cubicBezTo>
                  <a:pt x="345" y="159"/>
                  <a:pt x="345" y="159"/>
                  <a:pt x="345" y="159"/>
                </a:cubicBezTo>
                <a:cubicBezTo>
                  <a:pt x="332" y="151"/>
                  <a:pt x="332" y="151"/>
                  <a:pt x="332" y="151"/>
                </a:cubicBezTo>
                <a:cubicBezTo>
                  <a:pt x="323" y="146"/>
                  <a:pt x="323" y="146"/>
                  <a:pt x="323" y="146"/>
                </a:cubicBezTo>
                <a:cubicBezTo>
                  <a:pt x="306" y="141"/>
                  <a:pt x="306" y="141"/>
                  <a:pt x="306" y="141"/>
                </a:cubicBezTo>
                <a:cubicBezTo>
                  <a:pt x="288" y="136"/>
                  <a:pt x="288" y="136"/>
                  <a:pt x="288" y="136"/>
                </a:cubicBezTo>
                <a:cubicBezTo>
                  <a:pt x="275" y="129"/>
                  <a:pt x="275" y="129"/>
                  <a:pt x="275" y="129"/>
                </a:cubicBezTo>
                <a:cubicBezTo>
                  <a:pt x="249" y="109"/>
                  <a:pt x="249" y="109"/>
                  <a:pt x="249" y="109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192" y="87"/>
                  <a:pt x="192" y="87"/>
                  <a:pt x="192" y="87"/>
                </a:cubicBezTo>
                <a:cubicBezTo>
                  <a:pt x="161" y="74"/>
                  <a:pt x="161" y="74"/>
                  <a:pt x="161" y="74"/>
                </a:cubicBezTo>
                <a:cubicBezTo>
                  <a:pt x="140" y="67"/>
                  <a:pt x="140" y="67"/>
                  <a:pt x="140" y="67"/>
                </a:cubicBezTo>
                <a:cubicBezTo>
                  <a:pt x="123" y="61"/>
                  <a:pt x="123" y="61"/>
                  <a:pt x="123" y="61"/>
                </a:cubicBezTo>
                <a:cubicBezTo>
                  <a:pt x="106" y="56"/>
                  <a:pt x="106" y="56"/>
                  <a:pt x="106" y="56"/>
                </a:cubicBezTo>
                <a:cubicBezTo>
                  <a:pt x="82" y="42"/>
                  <a:pt x="82" y="42"/>
                  <a:pt x="82" y="42"/>
                </a:cubicBezTo>
                <a:cubicBezTo>
                  <a:pt x="62" y="26"/>
                  <a:pt x="62" y="26"/>
                  <a:pt x="62" y="26"/>
                </a:cubicBezTo>
                <a:cubicBezTo>
                  <a:pt x="52" y="21"/>
                  <a:pt x="52" y="21"/>
                  <a:pt x="52" y="21"/>
                </a:cubicBezTo>
                <a:cubicBezTo>
                  <a:pt x="34" y="15"/>
                  <a:pt x="34" y="15"/>
                  <a:pt x="34" y="15"/>
                </a:cubicBezTo>
                <a:cubicBezTo>
                  <a:pt x="4" y="0"/>
                  <a:pt x="4" y="0"/>
                  <a:pt x="4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28575" cap="rnd">
            <a:solidFill>
              <a:srgbClr val="7E84C5">
                <a:lumMod val="60000"/>
                <a:lumOff val="4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1BAAF84-D90B-4BFC-9465-FDA83CE92D6B}"/>
              </a:ext>
            </a:extLst>
          </p:cNvPr>
          <p:cNvSpPr>
            <a:spLocks/>
          </p:cNvSpPr>
          <p:nvPr/>
        </p:nvSpPr>
        <p:spPr bwMode="auto">
          <a:xfrm>
            <a:off x="7335292" y="3313906"/>
            <a:ext cx="4168775" cy="604837"/>
          </a:xfrm>
          <a:custGeom>
            <a:avLst/>
            <a:gdLst>
              <a:gd name="T0" fmla="*/ 740 w 740"/>
              <a:gd name="T1" fmla="*/ 169 h 169"/>
              <a:gd name="T2" fmla="*/ 713 w 740"/>
              <a:gd name="T3" fmla="*/ 169 h 169"/>
              <a:gd name="T4" fmla="*/ 704 w 740"/>
              <a:gd name="T5" fmla="*/ 169 h 169"/>
              <a:gd name="T6" fmla="*/ 698 w 740"/>
              <a:gd name="T7" fmla="*/ 151 h 169"/>
              <a:gd name="T8" fmla="*/ 689 w 740"/>
              <a:gd name="T9" fmla="*/ 151 h 169"/>
              <a:gd name="T10" fmla="*/ 680 w 740"/>
              <a:gd name="T11" fmla="*/ 151 h 169"/>
              <a:gd name="T12" fmla="*/ 675 w 740"/>
              <a:gd name="T13" fmla="*/ 137 h 169"/>
              <a:gd name="T14" fmla="*/ 644 w 740"/>
              <a:gd name="T15" fmla="*/ 137 h 169"/>
              <a:gd name="T16" fmla="*/ 552 w 740"/>
              <a:gd name="T17" fmla="*/ 137 h 169"/>
              <a:gd name="T18" fmla="*/ 535 w 740"/>
              <a:gd name="T19" fmla="*/ 127 h 169"/>
              <a:gd name="T20" fmla="*/ 521 w 740"/>
              <a:gd name="T21" fmla="*/ 127 h 169"/>
              <a:gd name="T22" fmla="*/ 510 w 740"/>
              <a:gd name="T23" fmla="*/ 117 h 169"/>
              <a:gd name="T24" fmla="*/ 501 w 740"/>
              <a:gd name="T25" fmla="*/ 117 h 169"/>
              <a:gd name="T26" fmla="*/ 479 w 740"/>
              <a:gd name="T27" fmla="*/ 117 h 169"/>
              <a:gd name="T28" fmla="*/ 466 w 740"/>
              <a:gd name="T29" fmla="*/ 117 h 169"/>
              <a:gd name="T30" fmla="*/ 462 w 740"/>
              <a:gd name="T31" fmla="*/ 110 h 169"/>
              <a:gd name="T32" fmla="*/ 411 w 740"/>
              <a:gd name="T33" fmla="*/ 110 h 169"/>
              <a:gd name="T34" fmla="*/ 384 w 740"/>
              <a:gd name="T35" fmla="*/ 102 h 169"/>
              <a:gd name="T36" fmla="*/ 380 w 740"/>
              <a:gd name="T37" fmla="*/ 102 h 169"/>
              <a:gd name="T38" fmla="*/ 368 w 740"/>
              <a:gd name="T39" fmla="*/ 90 h 169"/>
              <a:gd name="T40" fmla="*/ 340 w 740"/>
              <a:gd name="T41" fmla="*/ 90 h 169"/>
              <a:gd name="T42" fmla="*/ 324 w 740"/>
              <a:gd name="T43" fmla="*/ 82 h 169"/>
              <a:gd name="T44" fmla="*/ 319 w 740"/>
              <a:gd name="T45" fmla="*/ 75 h 169"/>
              <a:gd name="T46" fmla="*/ 310 w 740"/>
              <a:gd name="T47" fmla="*/ 60 h 169"/>
              <a:gd name="T48" fmla="*/ 287 w 740"/>
              <a:gd name="T49" fmla="*/ 60 h 169"/>
              <a:gd name="T50" fmla="*/ 282 w 740"/>
              <a:gd name="T51" fmla="*/ 55 h 169"/>
              <a:gd name="T52" fmla="*/ 268 w 740"/>
              <a:gd name="T53" fmla="*/ 55 h 169"/>
              <a:gd name="T54" fmla="*/ 257 w 740"/>
              <a:gd name="T55" fmla="*/ 43 h 169"/>
              <a:gd name="T56" fmla="*/ 207 w 740"/>
              <a:gd name="T57" fmla="*/ 43 h 169"/>
              <a:gd name="T58" fmla="*/ 195 w 740"/>
              <a:gd name="T59" fmla="*/ 38 h 169"/>
              <a:gd name="T60" fmla="*/ 188 w 740"/>
              <a:gd name="T61" fmla="*/ 38 h 169"/>
              <a:gd name="T62" fmla="*/ 175 w 740"/>
              <a:gd name="T63" fmla="*/ 32 h 169"/>
              <a:gd name="T64" fmla="*/ 164 w 740"/>
              <a:gd name="T65" fmla="*/ 29 h 169"/>
              <a:gd name="T66" fmla="*/ 156 w 740"/>
              <a:gd name="T67" fmla="*/ 20 h 169"/>
              <a:gd name="T68" fmla="*/ 120 w 740"/>
              <a:gd name="T69" fmla="*/ 20 h 169"/>
              <a:gd name="T70" fmla="*/ 103 w 740"/>
              <a:gd name="T71" fmla="*/ 12 h 169"/>
              <a:gd name="T72" fmla="*/ 90 w 740"/>
              <a:gd name="T73" fmla="*/ 6 h 169"/>
              <a:gd name="T74" fmla="*/ 75 w 740"/>
              <a:gd name="T75" fmla="*/ 6 h 169"/>
              <a:gd name="T76" fmla="*/ 63 w 740"/>
              <a:gd name="T77" fmla="*/ 0 h 169"/>
              <a:gd name="T78" fmla="*/ 0 w 740"/>
              <a:gd name="T79" fmla="*/ 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40" h="169">
                <a:moveTo>
                  <a:pt x="740" y="169"/>
                </a:moveTo>
                <a:cubicBezTo>
                  <a:pt x="713" y="169"/>
                  <a:pt x="713" y="169"/>
                  <a:pt x="713" y="169"/>
                </a:cubicBezTo>
                <a:cubicBezTo>
                  <a:pt x="704" y="169"/>
                  <a:pt x="704" y="169"/>
                  <a:pt x="704" y="169"/>
                </a:cubicBezTo>
                <a:cubicBezTo>
                  <a:pt x="698" y="151"/>
                  <a:pt x="698" y="151"/>
                  <a:pt x="698" y="151"/>
                </a:cubicBezTo>
                <a:cubicBezTo>
                  <a:pt x="689" y="151"/>
                  <a:pt x="689" y="151"/>
                  <a:pt x="689" y="151"/>
                </a:cubicBezTo>
                <a:cubicBezTo>
                  <a:pt x="680" y="151"/>
                  <a:pt x="680" y="151"/>
                  <a:pt x="680" y="151"/>
                </a:cubicBezTo>
                <a:cubicBezTo>
                  <a:pt x="675" y="137"/>
                  <a:pt x="675" y="137"/>
                  <a:pt x="675" y="137"/>
                </a:cubicBezTo>
                <a:cubicBezTo>
                  <a:pt x="644" y="137"/>
                  <a:pt x="644" y="137"/>
                  <a:pt x="644" y="137"/>
                </a:cubicBezTo>
                <a:cubicBezTo>
                  <a:pt x="552" y="137"/>
                  <a:pt x="552" y="137"/>
                  <a:pt x="552" y="137"/>
                </a:cubicBezTo>
                <a:cubicBezTo>
                  <a:pt x="535" y="127"/>
                  <a:pt x="535" y="127"/>
                  <a:pt x="535" y="127"/>
                </a:cubicBezTo>
                <a:cubicBezTo>
                  <a:pt x="521" y="127"/>
                  <a:pt x="521" y="127"/>
                  <a:pt x="521" y="127"/>
                </a:cubicBezTo>
                <a:cubicBezTo>
                  <a:pt x="510" y="117"/>
                  <a:pt x="510" y="117"/>
                  <a:pt x="510" y="117"/>
                </a:cubicBezTo>
                <a:cubicBezTo>
                  <a:pt x="501" y="117"/>
                  <a:pt x="501" y="117"/>
                  <a:pt x="501" y="117"/>
                </a:cubicBezTo>
                <a:cubicBezTo>
                  <a:pt x="479" y="117"/>
                  <a:pt x="479" y="117"/>
                  <a:pt x="479" y="117"/>
                </a:cubicBezTo>
                <a:cubicBezTo>
                  <a:pt x="466" y="117"/>
                  <a:pt x="466" y="117"/>
                  <a:pt x="466" y="117"/>
                </a:cubicBezTo>
                <a:cubicBezTo>
                  <a:pt x="462" y="110"/>
                  <a:pt x="462" y="110"/>
                  <a:pt x="462" y="110"/>
                </a:cubicBezTo>
                <a:cubicBezTo>
                  <a:pt x="411" y="110"/>
                  <a:pt x="411" y="110"/>
                  <a:pt x="411" y="110"/>
                </a:cubicBezTo>
                <a:cubicBezTo>
                  <a:pt x="384" y="102"/>
                  <a:pt x="384" y="102"/>
                  <a:pt x="384" y="102"/>
                </a:cubicBezTo>
                <a:cubicBezTo>
                  <a:pt x="380" y="102"/>
                  <a:pt x="380" y="102"/>
                  <a:pt x="380" y="102"/>
                </a:cubicBezTo>
                <a:cubicBezTo>
                  <a:pt x="368" y="90"/>
                  <a:pt x="368" y="90"/>
                  <a:pt x="368" y="90"/>
                </a:cubicBezTo>
                <a:cubicBezTo>
                  <a:pt x="340" y="90"/>
                  <a:pt x="340" y="90"/>
                  <a:pt x="340" y="90"/>
                </a:cubicBezTo>
                <a:cubicBezTo>
                  <a:pt x="324" y="82"/>
                  <a:pt x="324" y="82"/>
                  <a:pt x="324" y="82"/>
                </a:cubicBezTo>
                <a:cubicBezTo>
                  <a:pt x="319" y="75"/>
                  <a:pt x="319" y="75"/>
                  <a:pt x="319" y="75"/>
                </a:cubicBezTo>
                <a:cubicBezTo>
                  <a:pt x="310" y="60"/>
                  <a:pt x="310" y="60"/>
                  <a:pt x="310" y="60"/>
                </a:cubicBezTo>
                <a:cubicBezTo>
                  <a:pt x="287" y="60"/>
                  <a:pt x="287" y="60"/>
                  <a:pt x="287" y="60"/>
                </a:cubicBezTo>
                <a:cubicBezTo>
                  <a:pt x="282" y="55"/>
                  <a:pt x="282" y="55"/>
                  <a:pt x="282" y="55"/>
                </a:cubicBezTo>
                <a:cubicBezTo>
                  <a:pt x="268" y="55"/>
                  <a:pt x="268" y="55"/>
                  <a:pt x="268" y="55"/>
                </a:cubicBezTo>
                <a:cubicBezTo>
                  <a:pt x="257" y="43"/>
                  <a:pt x="257" y="43"/>
                  <a:pt x="257" y="43"/>
                </a:cubicBezTo>
                <a:cubicBezTo>
                  <a:pt x="207" y="43"/>
                  <a:pt x="207" y="43"/>
                  <a:pt x="207" y="43"/>
                </a:cubicBezTo>
                <a:cubicBezTo>
                  <a:pt x="195" y="38"/>
                  <a:pt x="195" y="38"/>
                  <a:pt x="195" y="38"/>
                </a:cubicBezTo>
                <a:cubicBezTo>
                  <a:pt x="188" y="38"/>
                  <a:pt x="188" y="38"/>
                  <a:pt x="188" y="38"/>
                </a:cubicBezTo>
                <a:cubicBezTo>
                  <a:pt x="175" y="32"/>
                  <a:pt x="175" y="32"/>
                  <a:pt x="175" y="32"/>
                </a:cubicBezTo>
                <a:cubicBezTo>
                  <a:pt x="164" y="29"/>
                  <a:pt x="164" y="29"/>
                  <a:pt x="164" y="29"/>
                </a:cubicBezTo>
                <a:cubicBezTo>
                  <a:pt x="156" y="20"/>
                  <a:pt x="156" y="20"/>
                  <a:pt x="156" y="20"/>
                </a:cubicBezTo>
                <a:cubicBezTo>
                  <a:pt x="156" y="20"/>
                  <a:pt x="123" y="22"/>
                  <a:pt x="120" y="20"/>
                </a:cubicBezTo>
                <a:cubicBezTo>
                  <a:pt x="117" y="17"/>
                  <a:pt x="103" y="12"/>
                  <a:pt x="103" y="12"/>
                </a:cubicBezTo>
                <a:cubicBezTo>
                  <a:pt x="90" y="6"/>
                  <a:pt x="90" y="6"/>
                  <a:pt x="90" y="6"/>
                </a:cubicBezTo>
                <a:cubicBezTo>
                  <a:pt x="75" y="6"/>
                  <a:pt x="75" y="6"/>
                  <a:pt x="75" y="6"/>
                </a:cubicBezTo>
                <a:cubicBezTo>
                  <a:pt x="63" y="0"/>
                  <a:pt x="63" y="0"/>
                  <a:pt x="63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28575" cap="rnd">
            <a:solidFill>
              <a:srgbClr val="80828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0E9FFD29-082D-4024-8EFC-62D24851E186}"/>
              </a:ext>
            </a:extLst>
          </p:cNvPr>
          <p:cNvSpPr>
            <a:spLocks/>
          </p:cNvSpPr>
          <p:nvPr/>
        </p:nvSpPr>
        <p:spPr bwMode="auto">
          <a:xfrm>
            <a:off x="7300550" y="3260579"/>
            <a:ext cx="4168775" cy="1649412"/>
          </a:xfrm>
          <a:custGeom>
            <a:avLst/>
            <a:gdLst>
              <a:gd name="T0" fmla="*/ 740 w 740"/>
              <a:gd name="T1" fmla="*/ 460 h 460"/>
              <a:gd name="T2" fmla="*/ 734 w 740"/>
              <a:gd name="T3" fmla="*/ 457 h 460"/>
              <a:gd name="T4" fmla="*/ 725 w 740"/>
              <a:gd name="T5" fmla="*/ 449 h 460"/>
              <a:gd name="T6" fmla="*/ 719 w 740"/>
              <a:gd name="T7" fmla="*/ 441 h 460"/>
              <a:gd name="T8" fmla="*/ 693 w 740"/>
              <a:gd name="T9" fmla="*/ 441 h 460"/>
              <a:gd name="T10" fmla="*/ 693 w 740"/>
              <a:gd name="T11" fmla="*/ 434 h 460"/>
              <a:gd name="T12" fmla="*/ 674 w 740"/>
              <a:gd name="T13" fmla="*/ 430 h 460"/>
              <a:gd name="T14" fmla="*/ 668 w 740"/>
              <a:gd name="T15" fmla="*/ 418 h 460"/>
              <a:gd name="T16" fmla="*/ 659 w 740"/>
              <a:gd name="T17" fmla="*/ 418 h 460"/>
              <a:gd name="T18" fmla="*/ 651 w 740"/>
              <a:gd name="T19" fmla="*/ 411 h 460"/>
              <a:gd name="T20" fmla="*/ 633 w 740"/>
              <a:gd name="T21" fmla="*/ 408 h 460"/>
              <a:gd name="T22" fmla="*/ 625 w 740"/>
              <a:gd name="T23" fmla="*/ 401 h 460"/>
              <a:gd name="T24" fmla="*/ 613 w 740"/>
              <a:gd name="T25" fmla="*/ 387 h 460"/>
              <a:gd name="T26" fmla="*/ 606 w 740"/>
              <a:gd name="T27" fmla="*/ 374 h 460"/>
              <a:gd name="T28" fmla="*/ 544 w 740"/>
              <a:gd name="T29" fmla="*/ 374 h 460"/>
              <a:gd name="T30" fmla="*/ 527 w 740"/>
              <a:gd name="T31" fmla="*/ 355 h 460"/>
              <a:gd name="T32" fmla="*/ 507 w 740"/>
              <a:gd name="T33" fmla="*/ 340 h 460"/>
              <a:gd name="T34" fmla="*/ 498 w 740"/>
              <a:gd name="T35" fmla="*/ 330 h 460"/>
              <a:gd name="T36" fmla="*/ 478 w 740"/>
              <a:gd name="T37" fmla="*/ 323 h 460"/>
              <a:gd name="T38" fmla="*/ 471 w 740"/>
              <a:gd name="T39" fmla="*/ 323 h 460"/>
              <a:gd name="T40" fmla="*/ 456 w 740"/>
              <a:gd name="T41" fmla="*/ 319 h 460"/>
              <a:gd name="T42" fmla="*/ 439 w 740"/>
              <a:gd name="T43" fmla="*/ 315 h 460"/>
              <a:gd name="T44" fmla="*/ 432 w 740"/>
              <a:gd name="T45" fmla="*/ 309 h 460"/>
              <a:gd name="T46" fmla="*/ 417 w 740"/>
              <a:gd name="T47" fmla="*/ 309 h 460"/>
              <a:gd name="T48" fmla="*/ 398 w 740"/>
              <a:gd name="T49" fmla="*/ 304 h 460"/>
              <a:gd name="T50" fmla="*/ 380 w 740"/>
              <a:gd name="T51" fmla="*/ 292 h 460"/>
              <a:gd name="T52" fmla="*/ 341 w 740"/>
              <a:gd name="T53" fmla="*/ 267 h 460"/>
              <a:gd name="T54" fmla="*/ 332 w 740"/>
              <a:gd name="T55" fmla="*/ 248 h 460"/>
              <a:gd name="T56" fmla="*/ 306 w 740"/>
              <a:gd name="T57" fmla="*/ 239 h 460"/>
              <a:gd name="T58" fmla="*/ 300 w 740"/>
              <a:gd name="T59" fmla="*/ 227 h 460"/>
              <a:gd name="T60" fmla="*/ 284 w 740"/>
              <a:gd name="T61" fmla="*/ 227 h 460"/>
              <a:gd name="T62" fmla="*/ 261 w 740"/>
              <a:gd name="T63" fmla="*/ 202 h 460"/>
              <a:gd name="T64" fmla="*/ 216 w 740"/>
              <a:gd name="T65" fmla="*/ 192 h 460"/>
              <a:gd name="T66" fmla="*/ 209 w 740"/>
              <a:gd name="T67" fmla="*/ 185 h 460"/>
              <a:gd name="T68" fmla="*/ 195 w 740"/>
              <a:gd name="T69" fmla="*/ 185 h 460"/>
              <a:gd name="T70" fmla="*/ 179 w 740"/>
              <a:gd name="T71" fmla="*/ 171 h 460"/>
              <a:gd name="T72" fmla="*/ 171 w 740"/>
              <a:gd name="T73" fmla="*/ 160 h 460"/>
              <a:gd name="T74" fmla="*/ 150 w 740"/>
              <a:gd name="T75" fmla="*/ 141 h 460"/>
              <a:gd name="T76" fmla="*/ 139 w 740"/>
              <a:gd name="T77" fmla="*/ 135 h 460"/>
              <a:gd name="T78" fmla="*/ 126 w 740"/>
              <a:gd name="T79" fmla="*/ 122 h 460"/>
              <a:gd name="T80" fmla="*/ 112 w 740"/>
              <a:gd name="T81" fmla="*/ 114 h 460"/>
              <a:gd name="T82" fmla="*/ 99 w 740"/>
              <a:gd name="T83" fmla="*/ 110 h 460"/>
              <a:gd name="T84" fmla="*/ 92 w 740"/>
              <a:gd name="T85" fmla="*/ 106 h 460"/>
              <a:gd name="T86" fmla="*/ 76 w 740"/>
              <a:gd name="T87" fmla="*/ 85 h 460"/>
              <a:gd name="T88" fmla="*/ 53 w 740"/>
              <a:gd name="T89" fmla="*/ 49 h 460"/>
              <a:gd name="T90" fmla="*/ 38 w 740"/>
              <a:gd name="T91" fmla="*/ 31 h 460"/>
              <a:gd name="T92" fmla="*/ 29 w 740"/>
              <a:gd name="T93" fmla="*/ 19 h 460"/>
              <a:gd name="T94" fmla="*/ 13 w 740"/>
              <a:gd name="T95" fmla="*/ 4 h 460"/>
              <a:gd name="T96" fmla="*/ 0 w 740"/>
              <a:gd name="T97" fmla="*/ 0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40" h="460">
                <a:moveTo>
                  <a:pt x="740" y="460"/>
                </a:moveTo>
                <a:cubicBezTo>
                  <a:pt x="734" y="457"/>
                  <a:pt x="734" y="457"/>
                  <a:pt x="734" y="457"/>
                </a:cubicBezTo>
                <a:cubicBezTo>
                  <a:pt x="725" y="449"/>
                  <a:pt x="725" y="449"/>
                  <a:pt x="725" y="449"/>
                </a:cubicBezTo>
                <a:cubicBezTo>
                  <a:pt x="719" y="441"/>
                  <a:pt x="719" y="441"/>
                  <a:pt x="719" y="441"/>
                </a:cubicBezTo>
                <a:cubicBezTo>
                  <a:pt x="693" y="441"/>
                  <a:pt x="693" y="441"/>
                  <a:pt x="693" y="441"/>
                </a:cubicBezTo>
                <a:cubicBezTo>
                  <a:pt x="693" y="434"/>
                  <a:pt x="693" y="434"/>
                  <a:pt x="693" y="434"/>
                </a:cubicBezTo>
                <a:cubicBezTo>
                  <a:pt x="674" y="430"/>
                  <a:pt x="674" y="430"/>
                  <a:pt x="674" y="430"/>
                </a:cubicBezTo>
                <a:cubicBezTo>
                  <a:pt x="668" y="418"/>
                  <a:pt x="668" y="418"/>
                  <a:pt x="668" y="418"/>
                </a:cubicBezTo>
                <a:cubicBezTo>
                  <a:pt x="659" y="418"/>
                  <a:pt x="659" y="418"/>
                  <a:pt x="659" y="418"/>
                </a:cubicBezTo>
                <a:cubicBezTo>
                  <a:pt x="651" y="411"/>
                  <a:pt x="651" y="411"/>
                  <a:pt x="651" y="411"/>
                </a:cubicBezTo>
                <a:cubicBezTo>
                  <a:pt x="633" y="408"/>
                  <a:pt x="633" y="408"/>
                  <a:pt x="633" y="408"/>
                </a:cubicBezTo>
                <a:cubicBezTo>
                  <a:pt x="625" y="401"/>
                  <a:pt x="625" y="401"/>
                  <a:pt x="625" y="401"/>
                </a:cubicBezTo>
                <a:cubicBezTo>
                  <a:pt x="613" y="387"/>
                  <a:pt x="613" y="387"/>
                  <a:pt x="613" y="387"/>
                </a:cubicBezTo>
                <a:cubicBezTo>
                  <a:pt x="606" y="374"/>
                  <a:pt x="606" y="374"/>
                  <a:pt x="606" y="374"/>
                </a:cubicBezTo>
                <a:cubicBezTo>
                  <a:pt x="544" y="374"/>
                  <a:pt x="544" y="374"/>
                  <a:pt x="544" y="374"/>
                </a:cubicBezTo>
                <a:cubicBezTo>
                  <a:pt x="527" y="355"/>
                  <a:pt x="527" y="355"/>
                  <a:pt x="527" y="355"/>
                </a:cubicBezTo>
                <a:cubicBezTo>
                  <a:pt x="527" y="355"/>
                  <a:pt x="508" y="341"/>
                  <a:pt x="507" y="340"/>
                </a:cubicBezTo>
                <a:cubicBezTo>
                  <a:pt x="506" y="338"/>
                  <a:pt x="498" y="330"/>
                  <a:pt x="498" y="330"/>
                </a:cubicBezTo>
                <a:cubicBezTo>
                  <a:pt x="478" y="323"/>
                  <a:pt x="478" y="323"/>
                  <a:pt x="478" y="323"/>
                </a:cubicBezTo>
                <a:cubicBezTo>
                  <a:pt x="471" y="323"/>
                  <a:pt x="471" y="323"/>
                  <a:pt x="471" y="323"/>
                </a:cubicBezTo>
                <a:cubicBezTo>
                  <a:pt x="456" y="319"/>
                  <a:pt x="456" y="319"/>
                  <a:pt x="456" y="319"/>
                </a:cubicBezTo>
                <a:cubicBezTo>
                  <a:pt x="439" y="315"/>
                  <a:pt x="439" y="315"/>
                  <a:pt x="439" y="315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17" y="309"/>
                  <a:pt x="417" y="309"/>
                  <a:pt x="417" y="309"/>
                </a:cubicBezTo>
                <a:cubicBezTo>
                  <a:pt x="398" y="304"/>
                  <a:pt x="398" y="304"/>
                  <a:pt x="398" y="304"/>
                </a:cubicBezTo>
                <a:cubicBezTo>
                  <a:pt x="380" y="292"/>
                  <a:pt x="380" y="292"/>
                  <a:pt x="380" y="292"/>
                </a:cubicBezTo>
                <a:cubicBezTo>
                  <a:pt x="341" y="267"/>
                  <a:pt x="341" y="267"/>
                  <a:pt x="341" y="267"/>
                </a:cubicBezTo>
                <a:cubicBezTo>
                  <a:pt x="332" y="248"/>
                  <a:pt x="332" y="248"/>
                  <a:pt x="332" y="248"/>
                </a:cubicBezTo>
                <a:cubicBezTo>
                  <a:pt x="306" y="239"/>
                  <a:pt x="306" y="239"/>
                  <a:pt x="306" y="239"/>
                </a:cubicBezTo>
                <a:cubicBezTo>
                  <a:pt x="300" y="227"/>
                  <a:pt x="300" y="227"/>
                  <a:pt x="300" y="227"/>
                </a:cubicBezTo>
                <a:cubicBezTo>
                  <a:pt x="284" y="227"/>
                  <a:pt x="284" y="227"/>
                  <a:pt x="284" y="227"/>
                </a:cubicBezTo>
                <a:cubicBezTo>
                  <a:pt x="261" y="202"/>
                  <a:pt x="261" y="202"/>
                  <a:pt x="261" y="202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09" y="185"/>
                  <a:pt x="209" y="185"/>
                  <a:pt x="209" y="185"/>
                </a:cubicBezTo>
                <a:cubicBezTo>
                  <a:pt x="195" y="185"/>
                  <a:pt x="195" y="185"/>
                  <a:pt x="195" y="185"/>
                </a:cubicBezTo>
                <a:cubicBezTo>
                  <a:pt x="179" y="171"/>
                  <a:pt x="179" y="171"/>
                  <a:pt x="179" y="171"/>
                </a:cubicBezTo>
                <a:cubicBezTo>
                  <a:pt x="171" y="160"/>
                  <a:pt x="171" y="160"/>
                  <a:pt x="171" y="160"/>
                </a:cubicBezTo>
                <a:cubicBezTo>
                  <a:pt x="150" y="141"/>
                  <a:pt x="150" y="141"/>
                  <a:pt x="150" y="141"/>
                </a:cubicBezTo>
                <a:cubicBezTo>
                  <a:pt x="139" y="135"/>
                  <a:pt x="139" y="135"/>
                  <a:pt x="139" y="135"/>
                </a:cubicBezTo>
                <a:cubicBezTo>
                  <a:pt x="126" y="122"/>
                  <a:pt x="126" y="122"/>
                  <a:pt x="126" y="122"/>
                </a:cubicBezTo>
                <a:cubicBezTo>
                  <a:pt x="112" y="114"/>
                  <a:pt x="112" y="114"/>
                  <a:pt x="112" y="114"/>
                </a:cubicBezTo>
                <a:cubicBezTo>
                  <a:pt x="99" y="110"/>
                  <a:pt x="99" y="110"/>
                  <a:pt x="99" y="110"/>
                </a:cubicBezTo>
                <a:cubicBezTo>
                  <a:pt x="92" y="106"/>
                  <a:pt x="92" y="106"/>
                  <a:pt x="92" y="106"/>
                </a:cubicBezTo>
                <a:cubicBezTo>
                  <a:pt x="76" y="85"/>
                  <a:pt x="76" y="85"/>
                  <a:pt x="76" y="85"/>
                </a:cubicBezTo>
                <a:cubicBezTo>
                  <a:pt x="53" y="49"/>
                  <a:pt x="53" y="49"/>
                  <a:pt x="53" y="49"/>
                </a:cubicBezTo>
                <a:cubicBezTo>
                  <a:pt x="38" y="31"/>
                  <a:pt x="38" y="31"/>
                  <a:pt x="38" y="31"/>
                </a:cubicBezTo>
                <a:cubicBezTo>
                  <a:pt x="38" y="31"/>
                  <a:pt x="31" y="22"/>
                  <a:pt x="29" y="19"/>
                </a:cubicBezTo>
                <a:cubicBezTo>
                  <a:pt x="27" y="17"/>
                  <a:pt x="13" y="4"/>
                  <a:pt x="13" y="4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28575" cap="rnd">
            <a:solidFill>
              <a:srgbClr val="5160A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25F972-F88A-4642-8DC0-4A970FD47866}"/>
              </a:ext>
            </a:extLst>
          </p:cNvPr>
          <p:cNvSpPr txBox="1"/>
          <p:nvPr/>
        </p:nvSpPr>
        <p:spPr>
          <a:xfrm>
            <a:off x="4220495" y="3554457"/>
            <a:ext cx="2337098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ru-RU" sz="1600" dirty="0">
                <a:solidFill>
                  <a:srgbClr val="C00000"/>
                </a:solidFill>
                <a:latin typeface="Arial"/>
              </a:rPr>
              <a:t>Задержка в диагностике ЛАГ может повлиять на прогноз жизни пациента</a:t>
            </a:r>
            <a:r>
              <a:rPr lang="ru-RU" sz="1600" baseline="30000" dirty="0">
                <a:solidFill>
                  <a:srgbClr val="C00000"/>
                </a:solidFill>
                <a:latin typeface="Arial"/>
              </a:rPr>
              <a:t>1,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C5F751-832E-49F2-8D8D-D5EF0B642929}"/>
              </a:ext>
            </a:extLst>
          </p:cNvPr>
          <p:cNvSpPr txBox="1"/>
          <p:nvPr/>
        </p:nvSpPr>
        <p:spPr>
          <a:xfrm>
            <a:off x="11532459" y="3768006"/>
            <a:ext cx="468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600" b="1" dirty="0">
                <a:solidFill>
                  <a:srgbClr val="C00000"/>
                </a:solidFill>
                <a:latin typeface="Arial"/>
              </a:rPr>
              <a:t>76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3CC566-4188-4BB1-8085-FA12BC1187A3}"/>
              </a:ext>
            </a:extLst>
          </p:cNvPr>
          <p:cNvSpPr txBox="1"/>
          <p:nvPr/>
        </p:nvSpPr>
        <p:spPr>
          <a:xfrm>
            <a:off x="11532459" y="4308653"/>
            <a:ext cx="468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600" b="1">
                <a:solidFill>
                  <a:srgbClr val="7E84C5"/>
                </a:solidFill>
                <a:latin typeface="Arial"/>
              </a:rPr>
              <a:t>52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FB7956-E12D-4CC7-B638-99341220116E}"/>
              </a:ext>
            </a:extLst>
          </p:cNvPr>
          <p:cNvSpPr txBox="1"/>
          <p:nvPr/>
        </p:nvSpPr>
        <p:spPr>
          <a:xfrm rot="16200000">
            <a:off x="6162360" y="3850650"/>
            <a:ext cx="2648544" cy="169277"/>
          </a:xfrm>
          <a:prstGeom prst="rect">
            <a:avLst/>
          </a:prstGeom>
          <a:noFill/>
        </p:spPr>
        <p:txBody>
          <a:bodyPr wrap="square" lIns="180000" tIns="0" rIns="0" bIns="0" rtlCol="0">
            <a:spAutoFit/>
          </a:bodyPr>
          <a:lstStyle/>
          <a:p>
            <a:pPr defTabSz="1219170">
              <a:defRPr/>
            </a:pPr>
            <a:r>
              <a:rPr lang="ru-R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роцент выживших</a:t>
            </a:r>
          </a:p>
        </p:txBody>
      </p:sp>
      <p:sp>
        <p:nvSpPr>
          <p:cNvPr id="18" name="AutoShape 10">
            <a:extLst>
              <a:ext uri="{FF2B5EF4-FFF2-40B4-BE49-F238E27FC236}">
                <a16:creationId xmlns:a16="http://schemas.microsoft.com/office/drawing/2014/main" id="{581DA895-5F4D-4EDB-A315-DBCE3273C5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490075" y="4674775"/>
            <a:ext cx="1422400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ru-RU" sz="2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9421-876A-4BFF-95DA-0D0E6F482117}"/>
              </a:ext>
            </a:extLst>
          </p:cNvPr>
          <p:cNvSpPr txBox="1"/>
          <p:nvPr/>
        </p:nvSpPr>
        <p:spPr>
          <a:xfrm rot="16200000">
            <a:off x="-306950" y="4755090"/>
            <a:ext cx="1769035" cy="251671"/>
          </a:xfrm>
          <a:prstGeom prst="rect">
            <a:avLst/>
          </a:prstGeom>
          <a:noFill/>
        </p:spPr>
        <p:txBody>
          <a:bodyPr wrap="square" lIns="180000" tIns="0" rIns="0" bIns="0" rtlCol="0">
            <a:noAutofit/>
          </a:bodyPr>
          <a:lstStyle>
            <a:defPPr>
              <a:defRPr lang="ru-RU"/>
            </a:defPPr>
            <a:lvl1pPr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defTabSz="1219170">
              <a:defRPr/>
            </a:pPr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Доля пациент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B37DA6-0F07-499C-AFEB-F50DF326CE02}"/>
              </a:ext>
            </a:extLst>
          </p:cNvPr>
          <p:cNvSpPr txBox="1"/>
          <p:nvPr/>
        </p:nvSpPr>
        <p:spPr>
          <a:xfrm>
            <a:off x="11532459" y="4813429"/>
            <a:ext cx="468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600" b="1">
                <a:solidFill>
                  <a:srgbClr val="5160AB"/>
                </a:solidFill>
                <a:latin typeface="Arial"/>
              </a:rPr>
              <a:t>32%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3F4EA81-A422-4C87-95ED-21BD054B92EB}"/>
              </a:ext>
            </a:extLst>
          </p:cNvPr>
          <p:cNvGrpSpPr/>
          <p:nvPr/>
        </p:nvGrpSpPr>
        <p:grpSpPr>
          <a:xfrm>
            <a:off x="7770225" y="4919964"/>
            <a:ext cx="1902169" cy="647171"/>
            <a:chOff x="7770225" y="4374679"/>
            <a:chExt cx="1902169" cy="64717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3C255F8-7F48-46CA-B0CB-BD47759F096C}"/>
                </a:ext>
              </a:extLst>
            </p:cNvPr>
            <p:cNvSpPr txBox="1"/>
            <p:nvPr/>
          </p:nvSpPr>
          <p:spPr>
            <a:xfrm>
              <a:off x="8356128" y="4374679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Низкий риск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3B3312D-C28D-4978-835A-3ABDDE904267}"/>
                </a:ext>
              </a:extLst>
            </p:cNvPr>
            <p:cNvCxnSpPr/>
            <p:nvPr/>
          </p:nvCxnSpPr>
          <p:spPr>
            <a:xfrm>
              <a:off x="7770225" y="4482925"/>
              <a:ext cx="418594" cy="0"/>
            </a:xfrm>
            <a:prstGeom prst="line">
              <a:avLst/>
            </a:prstGeom>
            <a:noFill/>
            <a:ln w="57150" cap="rnd" cmpd="sng" algn="ctr">
              <a:solidFill>
                <a:srgbClr val="808285"/>
              </a:solidFill>
              <a:prstDash val="solid"/>
            </a:ln>
            <a:effectLst/>
          </p:spPr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AE692FA-82A2-4E3D-9BA0-8D6C8B4D9D83}"/>
                </a:ext>
              </a:extLst>
            </p:cNvPr>
            <p:cNvSpPr txBox="1"/>
            <p:nvPr/>
          </p:nvSpPr>
          <p:spPr>
            <a:xfrm>
              <a:off x="8356128" y="4606145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Средний риск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3224F33-2A3B-4950-BF82-955350CBB236}"/>
                </a:ext>
              </a:extLst>
            </p:cNvPr>
            <p:cNvCxnSpPr/>
            <p:nvPr/>
          </p:nvCxnSpPr>
          <p:spPr>
            <a:xfrm>
              <a:off x="7770225" y="4708954"/>
              <a:ext cx="418594" cy="0"/>
            </a:xfrm>
            <a:prstGeom prst="line">
              <a:avLst/>
            </a:prstGeom>
            <a:noFill/>
            <a:ln w="57150" cap="rnd" cmpd="sng" algn="ctr">
              <a:solidFill>
                <a:srgbClr val="7E84C5"/>
              </a:solidFill>
              <a:prstDash val="solid"/>
            </a:ln>
            <a:effectLst/>
          </p:spPr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D1D48B7-E830-46EE-A53B-927A8A0AB1E4}"/>
                </a:ext>
              </a:extLst>
            </p:cNvPr>
            <p:cNvSpPr txBox="1"/>
            <p:nvPr/>
          </p:nvSpPr>
          <p:spPr>
            <a:xfrm>
              <a:off x="8356128" y="4837611"/>
              <a:ext cx="1316266" cy="184239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Высокий риск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EF1A697-CF39-49CB-94B5-251DC3A958DF}"/>
                </a:ext>
              </a:extLst>
            </p:cNvPr>
            <p:cNvCxnSpPr/>
            <p:nvPr/>
          </p:nvCxnSpPr>
          <p:spPr>
            <a:xfrm>
              <a:off x="7770225" y="4934983"/>
              <a:ext cx="418594" cy="0"/>
            </a:xfrm>
            <a:prstGeom prst="line">
              <a:avLst/>
            </a:prstGeom>
            <a:noFill/>
            <a:ln w="57150" cap="rnd" cmpd="sng" algn="ctr">
              <a:solidFill>
                <a:srgbClr val="5160AB"/>
              </a:solidFill>
              <a:prstDash val="solid"/>
            </a:ln>
            <a:effectLst/>
          </p:spPr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34BCF67-2E6C-4DF2-9B63-D9607B728330}"/>
              </a:ext>
            </a:extLst>
          </p:cNvPr>
          <p:cNvSpPr/>
          <p:nvPr/>
        </p:nvSpPr>
        <p:spPr>
          <a:xfrm>
            <a:off x="3082947" y="5082778"/>
            <a:ext cx="654092" cy="692977"/>
          </a:xfrm>
          <a:prstGeom prst="rect">
            <a:avLst/>
          </a:prstGeom>
          <a:solidFill>
            <a:srgbClr val="5160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6D4A5EE-D4C1-4EA9-88BE-264B19E24599}"/>
              </a:ext>
            </a:extLst>
          </p:cNvPr>
          <p:cNvSpPr txBox="1"/>
          <p:nvPr/>
        </p:nvSpPr>
        <p:spPr>
          <a:xfrm>
            <a:off x="3075839" y="5085225"/>
            <a:ext cx="654092" cy="251795"/>
          </a:xfrm>
          <a:prstGeom prst="rect">
            <a:avLst/>
          </a:prstGeom>
          <a:noFill/>
        </p:spPr>
        <p:txBody>
          <a:bodyPr wrap="square" lIns="0" tIns="36000" rIns="0" bIns="0" rtlCol="0">
            <a:spAutoFit/>
          </a:bodyPr>
          <a:lstStyle/>
          <a:p>
            <a:pPr algn="ctr" defTabSz="1219170"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17,4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8D78343-5E80-4954-AA8E-74CE7B27F23E}"/>
              </a:ext>
            </a:extLst>
          </p:cNvPr>
          <p:cNvSpPr/>
          <p:nvPr/>
        </p:nvSpPr>
        <p:spPr>
          <a:xfrm>
            <a:off x="1114945" y="5272560"/>
            <a:ext cx="654092" cy="503196"/>
          </a:xfrm>
          <a:prstGeom prst="rect">
            <a:avLst/>
          </a:prstGeom>
          <a:solidFill>
            <a:srgbClr val="80828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FF2F43-082C-4017-A06B-3330055F4886}"/>
              </a:ext>
            </a:extLst>
          </p:cNvPr>
          <p:cNvSpPr txBox="1"/>
          <p:nvPr/>
        </p:nvSpPr>
        <p:spPr>
          <a:xfrm>
            <a:off x="1104283" y="5276761"/>
            <a:ext cx="654092" cy="251795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algn="ctr" defTabSz="1219170">
              <a:defRPr/>
            </a:pPr>
            <a:r>
              <a:rPr lang="ru-RU" sz="1400" dirty="0">
                <a:solidFill>
                  <a:srgbClr val="FFFFFF"/>
                </a:solidFill>
                <a:latin typeface="Arial"/>
              </a:rPr>
              <a:t>12,3%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683D3D9-FBC6-4686-9DED-62315416EC2B}"/>
              </a:ext>
            </a:extLst>
          </p:cNvPr>
          <p:cNvCxnSpPr/>
          <p:nvPr/>
        </p:nvCxnSpPr>
        <p:spPr>
          <a:xfrm flipH="1">
            <a:off x="1" y="5772512"/>
            <a:ext cx="12191999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66C6A04-6905-4081-A1B0-98712E7A07D9}"/>
              </a:ext>
            </a:extLst>
          </p:cNvPr>
          <p:cNvSpPr txBox="1"/>
          <p:nvPr/>
        </p:nvSpPr>
        <p:spPr>
          <a:xfrm>
            <a:off x="1114947" y="5779582"/>
            <a:ext cx="654092" cy="224097"/>
          </a:xfrm>
          <a:prstGeom prst="rect">
            <a:avLst/>
          </a:prstGeom>
          <a:noFill/>
        </p:spPr>
        <p:txBody>
          <a:bodyPr wrap="square" lIns="0" tIns="72000" rIns="0" bIns="0" rtlCol="0">
            <a:noAutofit/>
          </a:bodyPr>
          <a:lstStyle/>
          <a:p>
            <a:pPr algn="ctr" defTabSz="1219170">
              <a:defRPr/>
            </a:pPr>
            <a:r>
              <a:rPr lang="ru-RU" sz="1000">
                <a:solidFill>
                  <a:prstClr val="black"/>
                </a:solidFill>
                <a:latin typeface="Arial"/>
              </a:rPr>
              <a:t>Низкий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5E82DE4-28CB-47B4-88FE-072E0729011A}"/>
              </a:ext>
            </a:extLst>
          </p:cNvPr>
          <p:cNvSpPr txBox="1"/>
          <p:nvPr/>
        </p:nvSpPr>
        <p:spPr>
          <a:xfrm>
            <a:off x="1942719" y="5779582"/>
            <a:ext cx="932828" cy="224097"/>
          </a:xfrm>
          <a:prstGeom prst="rect">
            <a:avLst/>
          </a:prstGeom>
          <a:noFill/>
        </p:spPr>
        <p:txBody>
          <a:bodyPr wrap="square" lIns="0" tIns="72000" rIns="0" bIns="0" rtlCol="0">
            <a:noAutofit/>
          </a:bodyPr>
          <a:lstStyle/>
          <a:p>
            <a:pPr algn="ctr" defTabSz="1219170">
              <a:defRPr/>
            </a:pPr>
            <a:r>
              <a:rPr lang="ru-RU" sz="1000">
                <a:solidFill>
                  <a:prstClr val="black"/>
                </a:solidFill>
                <a:latin typeface="Arial"/>
              </a:rPr>
              <a:t>Средний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F2483D0-CED6-4FA5-9615-14AD2C48774F}"/>
              </a:ext>
            </a:extLst>
          </p:cNvPr>
          <p:cNvSpPr txBox="1"/>
          <p:nvPr/>
        </p:nvSpPr>
        <p:spPr>
          <a:xfrm>
            <a:off x="3075839" y="5779582"/>
            <a:ext cx="661200" cy="224097"/>
          </a:xfrm>
          <a:prstGeom prst="rect">
            <a:avLst/>
          </a:prstGeom>
          <a:noFill/>
        </p:spPr>
        <p:txBody>
          <a:bodyPr wrap="square" lIns="0" tIns="72000" rIns="0" bIns="0" rtlCol="0">
            <a:noAutofit/>
          </a:bodyPr>
          <a:lstStyle/>
          <a:p>
            <a:pPr algn="ctr" defTabSz="1219170">
              <a:defRPr/>
            </a:pPr>
            <a:r>
              <a:rPr lang="ru-RU" sz="1000">
                <a:solidFill>
                  <a:prstClr val="black"/>
                </a:solidFill>
                <a:latin typeface="Arial"/>
              </a:rPr>
              <a:t>Высокий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E4A1FC6-7269-48DA-BD7E-8FDC7E24B495}"/>
              </a:ext>
            </a:extLst>
          </p:cNvPr>
          <p:cNvSpPr txBox="1"/>
          <p:nvPr/>
        </p:nvSpPr>
        <p:spPr>
          <a:xfrm>
            <a:off x="7258049" y="5837760"/>
            <a:ext cx="4933951" cy="265815"/>
          </a:xfrm>
          <a:prstGeom prst="rect">
            <a:avLst/>
          </a:prstGeom>
          <a:noFill/>
        </p:spPr>
        <p:txBody>
          <a:bodyPr wrap="square" lIns="0" tIns="0" rIns="0" bIns="0" numCol="6" rtlCol="0">
            <a:noAutofit/>
          </a:bodyPr>
          <a:lstStyle/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0</a:t>
            </a:r>
          </a:p>
          <a:p>
            <a:pPr defTabSz="1219170">
              <a:defRPr/>
            </a:pPr>
            <a:endParaRPr lang="ru-RU" sz="1000" dirty="0">
              <a:solidFill>
                <a:prstClr val="black"/>
              </a:solidFill>
              <a:latin typeface="Arial"/>
            </a:endParaRPr>
          </a:p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1</a:t>
            </a:r>
          </a:p>
          <a:p>
            <a:pPr defTabSz="1219170">
              <a:defRPr/>
            </a:pPr>
            <a:endParaRPr lang="ru-RU" sz="1000" dirty="0">
              <a:solidFill>
                <a:prstClr val="black"/>
              </a:solidFill>
              <a:latin typeface="Arial"/>
            </a:endParaRPr>
          </a:p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2</a:t>
            </a:r>
          </a:p>
          <a:p>
            <a:pPr defTabSz="1219170">
              <a:defRPr/>
            </a:pPr>
            <a:endParaRPr lang="ru-RU" sz="1000" dirty="0">
              <a:solidFill>
                <a:prstClr val="black"/>
              </a:solidFill>
              <a:latin typeface="Arial"/>
            </a:endParaRPr>
          </a:p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3</a:t>
            </a:r>
          </a:p>
          <a:p>
            <a:pPr defTabSz="1219170">
              <a:defRPr/>
            </a:pPr>
            <a:endParaRPr lang="ru-RU" sz="1000" dirty="0">
              <a:solidFill>
                <a:prstClr val="black"/>
              </a:solidFill>
              <a:latin typeface="Arial"/>
            </a:endParaRPr>
          </a:p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4</a:t>
            </a:r>
          </a:p>
          <a:p>
            <a:pPr defTabSz="1219170">
              <a:defRPr/>
            </a:pPr>
            <a:endParaRPr lang="ru-RU" sz="1000" dirty="0">
              <a:solidFill>
                <a:prstClr val="black"/>
              </a:solidFill>
              <a:latin typeface="Arial"/>
            </a:endParaRPr>
          </a:p>
          <a:p>
            <a:pPr defTabSz="1219170">
              <a:defRPr/>
            </a:pPr>
            <a:r>
              <a:rPr lang="ru-RU" sz="1000" dirty="0">
                <a:solidFill>
                  <a:prstClr val="black"/>
                </a:solidFill>
                <a:latin typeface="Arial"/>
              </a:rPr>
              <a:t>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42D4F65-D835-47BD-BDBD-D5593A59384D}"/>
              </a:ext>
            </a:extLst>
          </p:cNvPr>
          <p:cNvSpPr txBox="1"/>
          <p:nvPr/>
        </p:nvSpPr>
        <p:spPr>
          <a:xfrm>
            <a:off x="7650362" y="6040364"/>
            <a:ext cx="414932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ru-RU" sz="1200" b="1" dirty="0">
                <a:solidFill>
                  <a:prstClr val="black"/>
                </a:solidFill>
                <a:latin typeface="Arial"/>
              </a:rPr>
              <a:t>Время</a:t>
            </a:r>
            <a:r>
              <a:rPr lang="ru-RU" sz="1200" dirty="0">
                <a:solidFill>
                  <a:prstClr val="black"/>
                </a:solidFill>
                <a:latin typeface="Arial"/>
              </a:rPr>
              <a:t> с момента постановки диагноза ЛАГ, годы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C5FDE2D7-D9DA-4273-B90D-9A195A560E27}"/>
              </a:ext>
            </a:extLst>
          </p:cNvPr>
          <p:cNvSpPr txBox="1">
            <a:spLocks/>
          </p:cNvSpPr>
          <p:nvPr/>
        </p:nvSpPr>
        <p:spPr>
          <a:xfrm>
            <a:off x="152711" y="6113285"/>
            <a:ext cx="6500347" cy="2367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нализ пациентов с впервые выявленным заболеванием в регистре COMPERA (ЕС), включенных с 2009 года по 2016 год (n=1588)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50949B75-8E4C-4739-B43B-6F86DCB967D8}"/>
              </a:ext>
            </a:extLst>
          </p:cNvPr>
          <p:cNvSpPr txBox="1">
            <a:spLocks/>
          </p:cNvSpPr>
          <p:nvPr/>
        </p:nvSpPr>
        <p:spPr>
          <a:xfrm>
            <a:off x="65804" y="6384875"/>
            <a:ext cx="7164000" cy="4247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epe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ir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. 2017;50(2). </a:t>
            </a:r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GB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lang="en-GB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Dufour et al. Pulmonary Arterial Hypertension (PAH) Episodes of Care: Survival Analysis of PAH Patients Based on World Health Organization (WHO) Functional Class (FC). Presented at the Academy of Managed Care Pharmacy &amp; Speciality Pharmacy Annual Meeting 2016.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4D4CD67-8A9E-46FA-A32A-2A4AB84C1F8B}"/>
              </a:ext>
            </a:extLst>
          </p:cNvPr>
          <p:cNvSpPr/>
          <p:nvPr/>
        </p:nvSpPr>
        <p:spPr>
          <a:xfrm>
            <a:off x="7172354" y="2925535"/>
            <a:ext cx="552450" cy="55245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D839B96-D7C4-42DF-AE5E-E42BC338F1AC}"/>
              </a:ext>
            </a:extLst>
          </p:cNvPr>
          <p:cNvSpPr txBox="1"/>
          <p:nvPr/>
        </p:nvSpPr>
        <p:spPr>
          <a:xfrm>
            <a:off x="7153304" y="3116148"/>
            <a:ext cx="6000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100%</a:t>
            </a: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CF54E590-E8F6-45FC-84F6-0DE7A17BBDC4}"/>
              </a:ext>
            </a:extLst>
          </p:cNvPr>
          <p:cNvSpPr/>
          <p:nvPr/>
        </p:nvSpPr>
        <p:spPr>
          <a:xfrm>
            <a:off x="4172466" y="3535736"/>
            <a:ext cx="2001499" cy="1385583"/>
          </a:xfrm>
          <a:prstGeom prst="wedgeRectCallou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03FD4A7-953B-4A62-A3EC-521F81394F0C}"/>
              </a:ext>
            </a:extLst>
          </p:cNvPr>
          <p:cNvSpPr/>
          <p:nvPr/>
        </p:nvSpPr>
        <p:spPr>
          <a:xfrm>
            <a:off x="175147" y="916863"/>
            <a:ext cx="107373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выше категория риска при ЛАГ на момент постановки диагноза, </a:t>
            </a:r>
          </a:p>
          <a:p>
            <a:pPr lvl="0"/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 выше  летальность по данным регистра </a:t>
            </a:r>
            <a:r>
              <a:rPr lang="en-US" sz="2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RA</a:t>
            </a:r>
            <a:endParaRPr lang="ru-RU" sz="24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BD50DB76-7045-4BD3-97BA-FD04D2031D47}"/>
              </a:ext>
            </a:extLst>
          </p:cNvPr>
          <p:cNvSpPr/>
          <p:nvPr/>
        </p:nvSpPr>
        <p:spPr bwMode="auto">
          <a:xfrm rot="5400000" flipV="1">
            <a:off x="815810" y="4046891"/>
            <a:ext cx="3162023" cy="951347"/>
          </a:xfrm>
          <a:prstGeom prst="ellipse">
            <a:avLst/>
          </a:prstGeom>
          <a:noFill/>
          <a:ln w="12700">
            <a:solidFill>
              <a:srgbClr val="FF0000"/>
            </a:solidFill>
            <a:prstDash val="dash"/>
          </a:ln>
        </p:spPr>
        <p:txBody>
          <a:bodyPr vert="horz" wrap="square" lIns="13500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sz="1050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632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FC60E05-B357-449B-BBD0-B06E2BD812C2}"/>
              </a:ext>
            </a:extLst>
          </p:cNvPr>
          <p:cNvSpPr/>
          <p:nvPr/>
        </p:nvSpPr>
        <p:spPr>
          <a:xfrm>
            <a:off x="769435" y="818700"/>
            <a:ext cx="121932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4">
                    <a:lumMod val="50000"/>
                  </a:schemeClr>
                </a:solidFill>
                <a:latin typeface="Arial"/>
              </a:rPr>
              <a:t>Оценка риска играет важную роль в определении прогноза и оптимальной стратегии терапии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B07933A2-64A8-4860-B671-359D3F7C6784}"/>
              </a:ext>
            </a:extLst>
          </p:cNvPr>
          <p:cNvSpPr txBox="1">
            <a:spLocks/>
          </p:cNvSpPr>
          <p:nvPr/>
        </p:nvSpPr>
        <p:spPr>
          <a:xfrm>
            <a:off x="4853272" y="5554687"/>
            <a:ext cx="6981141" cy="560586"/>
          </a:xfrm>
          <a:prstGeom prst="roundRect">
            <a:avLst/>
          </a:prstGeom>
          <a:noFill/>
          <a:ln w="38100" cap="flat" cmpd="sng" algn="ctr">
            <a:solidFill>
              <a:srgbClr val="CC0033"/>
            </a:solidFill>
            <a:prstDash val="solid"/>
          </a:ln>
          <a:effectLst/>
        </p:spPr>
        <p:txBody>
          <a:bodyPr rtlCol="0" anchor="ctr"/>
          <a:lstStyle>
            <a:defPPr>
              <a:defRPr lang="ru-RU"/>
            </a:defPPr>
            <a:lvl1pPr lvl="0" algn="ctr">
              <a:defRPr sz="1600">
                <a:solidFill>
                  <a:srgbClr val="F2F2F2">
                    <a:lumMod val="10000"/>
                  </a:srgbClr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</a:rPr>
              <a:t>Согласно рекомендациям, следует проводить регулярную многофакторную оценку риска на момент диагностики и в динамике (каждые 3-6 месяцев)</a:t>
            </a:r>
            <a:r>
              <a:rPr kumimoji="0" lang="ru-RU" sz="1400" b="0" i="0" u="none" strike="noStrike" kern="1200" cap="none" spc="0" normalizeH="0" baseline="3000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842C74-2048-49A9-9006-6C1DDA08C229}"/>
              </a:ext>
            </a:extLst>
          </p:cNvPr>
          <p:cNvSpPr txBox="1"/>
          <p:nvPr/>
        </p:nvSpPr>
        <p:spPr>
          <a:xfrm rot="16200000">
            <a:off x="2963690" y="3211712"/>
            <a:ext cx="32038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комендации </a:t>
            </a:r>
            <a:r>
              <a:rPr lang="en-US" sz="1600" b="1" dirty="0">
                <a:solidFill>
                  <a:prstClr val="black"/>
                </a:solidFill>
                <a:latin typeface="Arial"/>
              </a:rPr>
              <a:t>ESC</a:t>
            </a:r>
            <a:r>
              <a:rPr kumimoji="0" lang="ru-RU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S</a:t>
            </a:r>
            <a:r>
              <a:rPr kumimoji="0" lang="ru-RU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5 г.</a:t>
            </a:r>
            <a:r>
              <a:rPr kumimoji="0" lang="ru-RU" sz="1600" b="1" i="0" u="none" strike="noStrike" kern="1200" cap="none" spc="0" normalizeH="0" baseline="3000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7B1006-DD38-419C-B095-FF23DA33DAFC}"/>
              </a:ext>
            </a:extLst>
          </p:cNvPr>
          <p:cNvSpPr txBox="1"/>
          <p:nvPr/>
        </p:nvSpPr>
        <p:spPr>
          <a:xfrm rot="16200000">
            <a:off x="437773" y="2274174"/>
            <a:ext cx="124341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AL 2.0</a:t>
            </a:r>
            <a:r>
              <a:rPr kumimoji="0" lang="ru-RU" sz="1600" b="1" i="0" u="none" strike="noStrike" kern="1200" cap="none" spc="0" normalizeH="0" baseline="3000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98EB9F-97B8-464C-93FD-97172427CE2D}"/>
              </a:ext>
            </a:extLst>
          </p:cNvPr>
          <p:cNvSpPr txBox="1"/>
          <p:nvPr/>
        </p:nvSpPr>
        <p:spPr>
          <a:xfrm>
            <a:off x="5525195" y="6099301"/>
            <a:ext cx="56372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гулярная оценка риска позволяет </a:t>
            </a:r>
            <a:r>
              <a:rPr kumimoji="0" lang="ru-RU" sz="14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аксимально быстро </a:t>
            </a: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даптировать тактику лечения для каждого пациента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E0946CAD-31D8-4FB1-9276-D2C7FE52B3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946" y="1773238"/>
            <a:ext cx="2361211" cy="4087887"/>
          </a:xfrm>
          <a:prstGeom prst="rect">
            <a:avLst/>
          </a:prstGeom>
        </p:spPr>
      </p:pic>
      <p:graphicFrame>
        <p:nvGraphicFramePr>
          <p:cNvPr id="10" name="Content Placeholder 4">
            <a:extLst>
              <a:ext uri="{FF2B5EF4-FFF2-40B4-BE49-F238E27FC236}">
                <a16:creationId xmlns:a16="http://schemas.microsoft.com/office/drawing/2014/main" id="{B981F2B6-ADA2-4D80-85D4-5D8B7BBECC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4861882"/>
              </p:ext>
            </p:extLst>
          </p:nvPr>
        </p:nvGraphicFramePr>
        <p:xfrm>
          <a:off x="4853274" y="1454347"/>
          <a:ext cx="6981141" cy="4057600"/>
        </p:xfrm>
        <a:graphic>
          <a:graphicData uri="http://schemas.openxmlformats.org/drawingml/2006/table">
            <a:tbl>
              <a:tblPr firstRow="1" bandRow="1"/>
              <a:tblGrid>
                <a:gridCol w="1538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41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3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52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7359">
                <a:tc rowSpan="2"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оры, определяющие прогноз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ная смертность в течение 1 года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/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359">
                <a:tc vMerge="1">
                  <a:txBody>
                    <a:bodyPr/>
                    <a:lstStyle/>
                    <a:p>
                      <a:pPr algn="ctr" rtl="0"/>
                      <a:endParaRPr lang="ru-RU" sz="13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DB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й риск &lt;5%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риск 5-10%</a:t>
                      </a:r>
                      <a:endParaRPr lang="ru-RU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1000" b="1" i="0" u="non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риск &gt; 10%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нические признаки правожелудочковой недостаточности 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уют 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ую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сутствую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ессирование симптомов</a:t>
                      </a:r>
                      <a:endParaRPr lang="ru-RU" sz="9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ленное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строе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морок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ические обмороки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торяющиеся обмороки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К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, II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97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Т6-МХ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40 м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-440 м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65 м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ПНТ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gt;15 мл/мин/кг </a:t>
                      </a:r>
                      <a:br>
                        <a:rPr lang="ru-RU" sz="9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&gt;65% от должного)</a:t>
                      </a:r>
                      <a:br>
                        <a:rPr lang="ru-RU" sz="9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900" b="0" i="0" u="none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36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1-15 мл/мин/кг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5-65% от должного) </a:t>
                      </a:r>
                      <a:br>
                        <a:rPr lang="ru-RU" sz="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900" b="0" i="0" u="non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-44,9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овое VO</a:t>
                      </a:r>
                      <a:r>
                        <a:rPr lang="ru-RU" sz="900" b="0" i="0" u="none" baseline="-25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11 мл/мин/кг</a:t>
                      </a:r>
                    </a:p>
                    <a:p>
                      <a:pPr algn="ctr" rtl="0">
                        <a:spcBef>
                          <a:spcPts val="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&lt;35% от должного)</a:t>
                      </a:r>
                      <a:br>
                        <a:rPr lang="ru-RU" sz="9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он кривой VE/VCO</a:t>
                      </a:r>
                      <a:r>
                        <a:rPr lang="ru-RU" sz="900" b="0" i="0" u="none" baseline="-25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≥ 45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01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центрация NT-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</a:t>
                      </a:r>
                      <a:b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азме крови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&lt;5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3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50-300 нг/л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proBNP 300-1400 нг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>
                        <a:spcBef>
                          <a:spcPts val="5400"/>
                        </a:spcBef>
                      </a:pP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P &gt;3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  <a:br>
                        <a:rPr lang="ru-RU" sz="9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-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NP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gt;1400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г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л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зуализирующие исследования </a:t>
                      </a:r>
                      <a:b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хоКГ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900" b="1" i="0" u="none" strike="noStrike" kern="1200" baseline="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МРТ</a:t>
                      </a:r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FCFC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ь ПП &lt;18 см</a:t>
                      </a:r>
                      <a:r>
                        <a:rPr lang="ru-RU" sz="900" b="0" i="0" u="none" strike="noStrike" kern="120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ерикардиального выпота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ПП 18-26 см</a:t>
                      </a:r>
                      <a:r>
                        <a:rPr lang="ru-RU" sz="900" b="0" i="0" u="none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ие или минимальное количество перикардиального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та</a:t>
                      </a: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ь ПП &gt; 26 см</a:t>
                      </a:r>
                      <a:r>
                        <a:rPr lang="ru-RU" sz="900" b="0" i="0" u="none" strike="noStrike" kern="120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икардиальный выпот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305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емодинамика</a:t>
                      </a:r>
                      <a:endParaRPr lang="ru-RU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ПП &lt;8 мм рт.ст.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И ≥2,5 л/мин/м</a:t>
                      </a:r>
                      <a:r>
                        <a:rPr lang="ru-RU" sz="900" b="0" i="0" u="none" strike="noStrike" kern="120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strike="noStrike" kern="120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vO2 &gt; 65%</a:t>
                      </a:r>
                      <a:endParaRPr lang="ru-RU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ПП 8-14 мм рт.ст.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 2,0-2,4 л/мин/м</a:t>
                      </a:r>
                      <a:r>
                        <a:rPr lang="ru-RU" sz="900" b="0" i="0" u="none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O2 60-65%</a:t>
                      </a:r>
                      <a:endParaRPr lang="ru-RU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C032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ПП &gt; 14 мм </a:t>
                      </a:r>
                      <a:r>
                        <a:rPr lang="ru-RU" sz="900" b="0" i="0" u="none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т.ст</a:t>
                      </a:r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 &lt;2,0 л/мин/м</a:t>
                      </a:r>
                      <a:r>
                        <a:rPr lang="ru-RU" sz="900" b="0" i="0" u="none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ctr" rtl="0"/>
                      <a:r>
                        <a:rPr lang="ru-RU" sz="900" b="0" i="0" u="none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O2 &lt;60%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2" marR="45722" marT="36002" marB="3600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839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320801" y="1831975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 dirty="0">
                <a:latin typeface="Arial Narrow" panose="020B0606020202030204" pitchFamily="34" charset="0"/>
              </a:rPr>
              <a:t>I группа по ВОЗ</a:t>
            </a:r>
          </a:p>
          <a:p>
            <a:pPr algn="ctr" rtl="0">
              <a:lnSpc>
                <a:spcPct val="80000"/>
              </a:lnSpc>
            </a:pPr>
            <a:r>
              <a:rPr lang="ru-RU" sz="600" b="0" i="0" u="none" baseline="0" dirty="0">
                <a:latin typeface="Arial Narrow" panose="020B0606020202030204" pitchFamily="34" charset="0"/>
              </a:rPr>
              <a:t>Подгруппа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81280" y="1825625"/>
            <a:ext cx="182495" cy="1651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ЗСТ-ЛАГ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62545" y="1841500"/>
            <a:ext cx="182495" cy="149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ПоЛГ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68517" y="1866899"/>
            <a:ext cx="416074" cy="98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 dirty="0">
                <a:latin typeface="Arial Narrow" panose="020B0606020202030204" pitchFamily="34" charset="0"/>
              </a:rPr>
              <a:t>Наследственная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20801" y="213995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Демографические характеристики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97075" y="2139950"/>
            <a:ext cx="1078787" cy="1524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Мужчины в возрасте &gt; 60 лет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20801" y="245110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Сопутствующие заболевания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997075" y="2451100"/>
            <a:ext cx="1078787" cy="1524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400" b="0" i="0" u="none" baseline="0" dirty="0" err="1">
                <a:latin typeface="Arial Narrow" panose="020B0606020202030204" pitchFamily="34" charset="0"/>
              </a:rPr>
              <a:t>рСКФ</a:t>
            </a:r>
            <a:r>
              <a:rPr lang="ru-RU" sz="400" b="0" i="0" u="none" baseline="0" dirty="0">
                <a:latin typeface="Arial Narrow" panose="020B0606020202030204" pitchFamily="34" charset="0"/>
              </a:rPr>
              <a:t>&lt;60 мл/мин/1,73м</a:t>
            </a:r>
            <a:r>
              <a:rPr lang="ru-RU" sz="400" b="0" i="0" u="none" baseline="30000" dirty="0">
                <a:latin typeface="Arial Narrow" panose="020B0606020202030204" pitchFamily="34" charset="0"/>
              </a:rPr>
              <a:t>2</a:t>
            </a:r>
            <a:r>
              <a:rPr lang="ru-RU" sz="400" b="0" i="0" u="none" baseline="0" dirty="0">
                <a:latin typeface="Arial Narrow" panose="020B0606020202030204" pitchFamily="34" charset="0"/>
              </a:rPr>
              <a:t> или почечная недостаточность (если </a:t>
            </a:r>
            <a:r>
              <a:rPr lang="ru-RU" sz="400" b="0" i="0" u="none" baseline="0" dirty="0" err="1">
                <a:latin typeface="Arial Narrow" panose="020B0606020202030204" pitchFamily="34" charset="0"/>
              </a:rPr>
              <a:t>рСКФ</a:t>
            </a:r>
            <a:r>
              <a:rPr lang="ru-RU" sz="400" b="0" i="0" u="none" baseline="0" dirty="0">
                <a:latin typeface="Arial Narrow" panose="020B0606020202030204" pitchFamily="34" charset="0"/>
              </a:rPr>
              <a:t> определить невозможно)</a:t>
            </a:r>
            <a:endParaRPr lang="ru-RU" sz="400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20801" y="2773978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Функциональный класс по ВОЗ/NYHA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20800" y="3080273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Основные показатели жизнедеятельности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97074" y="3400948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500" b="0" i="0" u="none" baseline="0" dirty="0">
                <a:latin typeface="Arial Narrow" panose="020B0606020202030204" pitchFamily="34" charset="0"/>
              </a:rPr>
              <a:t>Госпитализации по любой причине в течение 6 месяцев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320799" y="3720876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Тест 6-минутной ходьбы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20798" y="3391037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Госпитализации по любой причине </a:t>
            </a:r>
          </a:p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≤ 6 месяцев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97074" y="3090235"/>
            <a:ext cx="552452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САД &lt;110 мм рт.ст.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32138" y="3090672"/>
            <a:ext cx="552452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ЧСС &gt; 96 уд/мин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22308" y="4054612"/>
            <a:ext cx="308936" cy="1935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400" b="0" i="0" u="none" baseline="0">
                <a:latin typeface="Arial Narrow" panose="020B0606020202030204" pitchFamily="34" charset="0"/>
              </a:rPr>
              <a:t>&lt;50 пг/мл или NT-proBNP &lt;300 пг/мл</a:t>
            </a:r>
            <a:endParaRPr lang="ru-RU" sz="400" dirty="0">
              <a:latin typeface="Arial Narrow" panose="020B060602020203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412206" y="4049157"/>
            <a:ext cx="256310" cy="1989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400" b="0" i="0" u="none" baseline="0">
                <a:latin typeface="Arial Narrow" panose="020B0606020202030204" pitchFamily="34" charset="0"/>
              </a:rPr>
              <a:t>от 200 до &lt;800 пг/мл</a:t>
            </a:r>
            <a:endParaRPr lang="ru-RU" sz="400" dirty="0"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728677" y="4059606"/>
            <a:ext cx="347741" cy="1885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400" b="0" i="0" u="none" baseline="0">
                <a:latin typeface="Arial Narrow" panose="020B0606020202030204" pitchFamily="34" charset="0"/>
              </a:rPr>
              <a:t>≥ 800 пг/мл или NT-proBNP </a:t>
            </a:r>
          </a:p>
          <a:p>
            <a:pPr algn="ctr" rtl="0"/>
            <a:r>
              <a:rPr lang="ru-RU" sz="400" b="0" i="0" u="none" baseline="0">
                <a:latin typeface="Arial Narrow" panose="020B0606020202030204" pitchFamily="34" charset="0"/>
              </a:rPr>
              <a:t>≥ 1100 пг/мл</a:t>
            </a:r>
            <a:endParaRPr lang="ru-RU" sz="400" dirty="0">
              <a:latin typeface="Arial Narrow" panose="020B060602020203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320798" y="4040940"/>
            <a:ext cx="641349" cy="36595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BNP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81280" y="3708460"/>
            <a:ext cx="182495" cy="1651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≥ 400 м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418095" y="3724335"/>
            <a:ext cx="266132" cy="149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 dirty="0">
                <a:latin typeface="Arial Narrow" panose="020B0606020202030204" pitchFamily="34" charset="0"/>
              </a:rPr>
              <a:t>от 30 </a:t>
            </a:r>
            <a:br>
              <a:rPr lang="en-US" sz="500" b="0" i="0" u="none" baseline="0" dirty="0">
                <a:latin typeface="Arial Narrow" panose="020B0606020202030204" pitchFamily="34" charset="0"/>
              </a:rPr>
            </a:br>
            <a:r>
              <a:rPr lang="ru-RU" sz="500" b="0" i="0" u="none" baseline="0" dirty="0">
                <a:latin typeface="Arial Narrow" panose="020B0606020202030204" pitchFamily="34" charset="0"/>
              </a:rPr>
              <a:t>до</a:t>
            </a:r>
            <a:r>
              <a:rPr lang="en-US" sz="500" b="0" i="0" u="none" baseline="0" dirty="0">
                <a:latin typeface="Arial Narrow" panose="020B0606020202030204" pitchFamily="34" charset="0"/>
              </a:rPr>
              <a:t> </a:t>
            </a:r>
            <a:r>
              <a:rPr lang="ru-RU" sz="500" b="0" i="0" u="none" baseline="0" dirty="0">
                <a:latin typeface="Arial Narrow" panose="020B0606020202030204" pitchFamily="34" charset="0"/>
              </a:rPr>
              <a:t>&lt;400 м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36849" y="3749734"/>
            <a:ext cx="347741" cy="98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&lt;165 м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320798" y="4408921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Эхокардиография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997074" y="4422144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Перикардиальный выпот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320797" y="4731410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>
                <a:latin typeface="Arial Narrow" panose="020B0606020202030204" pitchFamily="34" charset="0"/>
              </a:rPr>
              <a:t>Функция внешнего дыхания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992744" y="4735298"/>
            <a:ext cx="1078787" cy="13600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% от должных значений D</a:t>
            </a:r>
            <a:r>
              <a:rPr lang="ru-RU" sz="500" b="0" i="0" u="none" baseline="-25000">
                <a:latin typeface="Arial Narrow" panose="020B0606020202030204" pitchFamily="34" charset="0"/>
              </a:rPr>
              <a:t>LCO </a:t>
            </a:r>
            <a:r>
              <a:rPr lang="ru-RU" sz="500" b="0" i="0" u="none" baseline="0">
                <a:latin typeface="Arial Narrow" panose="020B0606020202030204" pitchFamily="34" charset="0"/>
              </a:rPr>
              <a:t>&lt;40%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320796" y="5046124"/>
            <a:ext cx="641349" cy="298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>
              <a:lnSpc>
                <a:spcPct val="80000"/>
              </a:lnSpc>
            </a:pPr>
            <a:r>
              <a:rPr lang="ru-RU" sz="600" b="0" i="0" u="none" baseline="0" dirty="0">
                <a:latin typeface="Arial Narrow" panose="020B0606020202030204" pitchFamily="34" charset="0"/>
              </a:rPr>
              <a:t>Катетеризация правых отделов сердца</a:t>
            </a:r>
            <a:endParaRPr lang="ru-RU" sz="600" dirty="0">
              <a:latin typeface="Arial Narrow" panose="020B060602020203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992744" y="5045315"/>
            <a:ext cx="556782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СрДПП ≥20 мм рт.ст. в течение 1 года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549526" y="5045315"/>
            <a:ext cx="535063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ЛСС &lt;5 </a:t>
            </a:r>
            <a:endParaRPr lang="ru-RU" sz="500" dirty="0">
              <a:latin typeface="Arial Narrow" panose="020B0606020202030204" pitchFamily="34" charset="0"/>
            </a:endParaRPr>
          </a:p>
          <a:p>
            <a:pPr algn="ctr" rtl="0"/>
            <a:r>
              <a:rPr lang="ru-RU" sz="500" b="0" i="0" u="none" baseline="0">
                <a:latin typeface="Arial Narrow" panose="020B0606020202030204" pitchFamily="34" charset="0"/>
              </a:rPr>
              <a:t>единиц Вуда</a:t>
            </a:r>
            <a:endParaRPr lang="ru-RU" sz="500" dirty="0">
              <a:latin typeface="Arial Narrow" panose="020B060602020203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739901" y="5377163"/>
            <a:ext cx="1351278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rtl="0"/>
            <a:r>
              <a:rPr lang="ru-RU" sz="500" b="1" i="0" u="none" baseline="0" dirty="0">
                <a:solidFill>
                  <a:srgbClr val="F7C032"/>
                </a:solidFill>
                <a:latin typeface="Arial Narrow" panose="020B0606020202030204" pitchFamily="34" charset="0"/>
              </a:rPr>
              <a:t>СУММА ВЫШЕПЕРЕЧИСЛЕННЫХ БАЛЛОВ</a:t>
            </a:r>
            <a:endParaRPr lang="ru-RU" sz="500" b="1" dirty="0">
              <a:solidFill>
                <a:srgbClr val="F7C032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359025" y="5698695"/>
            <a:ext cx="732153" cy="1362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rtl="0"/>
            <a:r>
              <a:rPr lang="ru-RU" sz="500" b="1" i="0" u="none" baseline="0">
                <a:solidFill>
                  <a:srgbClr val="EA3E33"/>
                </a:solidFill>
                <a:latin typeface="Arial Narrow" panose="020B0606020202030204" pitchFamily="34" charset="0"/>
              </a:rPr>
              <a:t> = ИНДЕКС РИСКА</a:t>
            </a:r>
            <a:endParaRPr lang="ru-RU" sz="500" b="1" dirty="0">
              <a:solidFill>
                <a:srgbClr val="EA3E33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E3D211-F28D-4D60-ADA3-7FB8863C07CA}"/>
              </a:ext>
            </a:extLst>
          </p:cNvPr>
          <p:cNvSpPr/>
          <p:nvPr/>
        </p:nvSpPr>
        <p:spPr>
          <a:xfrm>
            <a:off x="145409" y="6519790"/>
            <a:ext cx="95187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1. Benza R, et al. </a:t>
            </a:r>
            <a:r>
              <a:rPr lang="fr-FR" sz="1200" dirty="0" err="1"/>
              <a:t>Chest</a:t>
            </a:r>
            <a:r>
              <a:rPr lang="fr-FR" sz="1200" dirty="0"/>
              <a:t> 2019; 156:323-37; 2. </a:t>
            </a:r>
            <a:r>
              <a:rPr lang="fr-FR" sz="1200" dirty="0" err="1"/>
              <a:t>Galiè</a:t>
            </a:r>
            <a:r>
              <a:rPr lang="fr-FR" sz="1200" dirty="0"/>
              <a:t> N, et al. </a:t>
            </a:r>
            <a:r>
              <a:rPr lang="fr-FR" sz="1200" dirty="0" err="1"/>
              <a:t>Eur</a:t>
            </a:r>
            <a:r>
              <a:rPr lang="fr-FR" sz="1200" dirty="0"/>
              <a:t> </a:t>
            </a:r>
            <a:r>
              <a:rPr lang="fr-FR" sz="1200" dirty="0" err="1"/>
              <a:t>Heart</a:t>
            </a:r>
            <a:r>
              <a:rPr lang="fr-FR" sz="1200" dirty="0"/>
              <a:t> J 2016; 37:67-119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97104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">
            <a:extLst>
              <a:ext uri="{FF2B5EF4-FFF2-40B4-BE49-F238E27FC236}">
                <a16:creationId xmlns:a16="http://schemas.microsoft.com/office/drawing/2014/main" id="{FB1FD5B3-B723-46B4-8195-6B1987B2C2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9847"/>
            <a:ext cx="12192000" cy="578815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D2B87A3-2C6C-4777-8B77-810EF65E09CA}"/>
              </a:ext>
            </a:extLst>
          </p:cNvPr>
          <p:cNvSpPr txBox="1"/>
          <p:nvPr/>
        </p:nvSpPr>
        <p:spPr>
          <a:xfrm>
            <a:off x="590550" y="1069847"/>
            <a:ext cx="110108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sz="2800" b="0" i="0" u="none" baseline="0" dirty="0">
                <a:solidFill>
                  <a:srgbClr val="009FB3"/>
                </a:solidFill>
                <a:latin typeface="Arial Narrow" panose="020B0606020202030204" pitchFamily="34" charset="0"/>
              </a:rPr>
              <a:t>Целью является достижение статуса низкого риска, так как это улучшает долгосрочные исходы</a:t>
            </a:r>
            <a:endParaRPr lang="ru-RU" sz="2000" i="1" dirty="0">
              <a:solidFill>
                <a:srgbClr val="009FB3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47E6C4-94AC-45E1-B710-09610457AA9E}"/>
              </a:ext>
            </a:extLst>
          </p:cNvPr>
          <p:cNvSpPr txBox="1"/>
          <p:nvPr/>
        </p:nvSpPr>
        <p:spPr>
          <a:xfrm>
            <a:off x="883230" y="6535553"/>
            <a:ext cx="93571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sz="1100" b="0" i="0" u="none" baseline="0" dirty="0">
                <a:latin typeface="Arial Narrow" panose="020B0606020202030204" pitchFamily="34" charset="0"/>
              </a:rPr>
              <a:t>1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Galiè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 N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Hear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6; 37:67-119; 2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KylhammarD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Hear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8; 39:4175-81; 3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BouclyA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Respi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7; 50:1700889; 4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HoeperMM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Respi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7; 50:1400740; 5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Coghlan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 JG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m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Cardiovasc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Drugs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8; 18:37-47.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B9521D-16FD-4A14-B2BD-971B5FC95330}"/>
              </a:ext>
            </a:extLst>
          </p:cNvPr>
          <p:cNvSpPr txBox="1"/>
          <p:nvPr/>
        </p:nvSpPr>
        <p:spPr>
          <a:xfrm>
            <a:off x="485775" y="2894243"/>
            <a:ext cx="1628775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0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Оценка риска</a:t>
            </a:r>
            <a:endParaRPr lang="ru-RU" sz="16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7824D4-BAAD-413E-A9C1-1610DA331EF6}"/>
              </a:ext>
            </a:extLst>
          </p:cNvPr>
          <p:cNvSpPr txBox="1"/>
          <p:nvPr/>
        </p:nvSpPr>
        <p:spPr>
          <a:xfrm>
            <a:off x="485775" y="4821268"/>
            <a:ext cx="1628775" cy="5909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0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Регулярное последующее наблюдение</a:t>
            </a:r>
            <a:endParaRPr lang="ru-RU" sz="16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4F2897-212A-464B-95BB-18BBC2B5335A}"/>
              </a:ext>
            </a:extLst>
          </p:cNvPr>
          <p:cNvSpPr txBox="1"/>
          <p:nvPr/>
        </p:nvSpPr>
        <p:spPr>
          <a:xfrm>
            <a:off x="2343150" y="2034218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 dirty="0">
                <a:latin typeface="Arial Narrow" panose="020B0606020202030204" pitchFamily="34" charset="0"/>
              </a:rPr>
              <a:t>Рекомендована </a:t>
            </a:r>
            <a:r>
              <a:rPr lang="ru-RU" b="1" i="0" u="none" baseline="0" dirty="0" err="1">
                <a:latin typeface="Arial Narrow" panose="020B0606020202030204" pitchFamily="34" charset="0"/>
              </a:rPr>
              <a:t>мультипараметрическая</a:t>
            </a:r>
            <a:r>
              <a:rPr lang="ru-RU" b="0" i="0" u="none" baseline="0" dirty="0">
                <a:latin typeface="Arial Narrow" panose="020B0606020202030204" pitchFamily="34" charset="0"/>
              </a:rPr>
              <a:t> оценка степени </a:t>
            </a:r>
            <a:r>
              <a:rPr lang="ru-RU" b="1" i="0" u="none" baseline="0" dirty="0">
                <a:latin typeface="Arial Narrow" panose="020B0606020202030204" pitchFamily="34" charset="0"/>
              </a:rPr>
              <a:t>тяжести ЛАГ</a:t>
            </a:r>
            <a:r>
              <a:rPr lang="ru-RU" b="0" i="0" u="none" baseline="0" dirty="0">
                <a:latin typeface="Arial Narrow" panose="020B0606020202030204" pitchFamily="34" charset="0"/>
              </a:rPr>
              <a:t> у пациента</a:t>
            </a:r>
            <a:r>
              <a:rPr lang="ru-RU" b="0" i="0" u="none" baseline="30000" dirty="0">
                <a:latin typeface="Arial Narrow" panose="020B0606020202030204" pitchFamily="34" charset="0"/>
              </a:rPr>
              <a:t>1,2</a:t>
            </a:r>
            <a:endParaRPr lang="ru-RU" i="1" baseline="30000" dirty="0">
              <a:latin typeface="Arial Narrow" panose="020B0606020202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749EBCF-215B-4C6D-86CB-4972AAD785FD}"/>
              </a:ext>
            </a:extLst>
          </p:cNvPr>
          <p:cNvSpPr txBox="1"/>
          <p:nvPr/>
        </p:nvSpPr>
        <p:spPr>
          <a:xfrm>
            <a:off x="2343150" y="4223728"/>
            <a:ext cx="25241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1" i="0" u="none" baseline="0">
                <a:latin typeface="Arial Narrow" panose="020B0606020202030204" pitchFamily="34" charset="0"/>
              </a:rPr>
              <a:t>Переоценка</a:t>
            </a:r>
            <a:r>
              <a:rPr lang="ru-RU" b="0" i="0" u="none" baseline="0">
                <a:latin typeface="Arial Narrow" panose="020B0606020202030204" pitchFamily="34" charset="0"/>
              </a:rPr>
              <a:t> риска пациента </a:t>
            </a:r>
            <a:r>
              <a:rPr lang="ru-RU" b="1" i="0" u="none" baseline="0">
                <a:latin typeface="Arial Narrow" panose="020B0606020202030204" pitchFamily="34" charset="0"/>
              </a:rPr>
              <a:t>каждые 3–6 месяцев</a:t>
            </a:r>
            <a:r>
              <a:rPr lang="ru-RU" b="1" i="0" u="none" baseline="30000">
                <a:latin typeface="Arial Narrow" panose="020B0606020202030204" pitchFamily="34" charset="0"/>
              </a:rPr>
              <a:t>1,2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C414D35-C250-42ED-A32F-E8901DD7FA70}"/>
              </a:ext>
            </a:extLst>
          </p:cNvPr>
          <p:cNvSpPr txBox="1"/>
          <p:nvPr/>
        </p:nvSpPr>
        <p:spPr>
          <a:xfrm>
            <a:off x="6219825" y="2894243"/>
            <a:ext cx="1724026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0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Цель лечения</a:t>
            </a:r>
            <a:endParaRPr lang="ru-RU" sz="16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879FAC7-F865-41AE-8DEE-22C5DAD250C7}"/>
              </a:ext>
            </a:extLst>
          </p:cNvPr>
          <p:cNvSpPr txBox="1"/>
          <p:nvPr/>
        </p:nvSpPr>
        <p:spPr>
          <a:xfrm>
            <a:off x="6219824" y="5018324"/>
            <a:ext cx="1724026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0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Ответ на лечение</a:t>
            </a:r>
            <a:endParaRPr lang="ru-RU" sz="16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EFF7D9-CE0E-4951-ADF0-612104C5211B}"/>
              </a:ext>
            </a:extLst>
          </p:cNvPr>
          <p:cNvSpPr txBox="1"/>
          <p:nvPr/>
        </p:nvSpPr>
        <p:spPr>
          <a:xfrm>
            <a:off x="8286750" y="2034218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>
                <a:latin typeface="Arial Narrow" panose="020B0606020202030204" pitchFamily="34" charset="0"/>
              </a:rPr>
              <a:t>Цель лечения</a:t>
            </a:r>
            <a:r>
              <a:rPr lang="ru-RU" b="0" i="0" u="none" baseline="30000">
                <a:latin typeface="Arial Narrow" panose="020B0606020202030204" pitchFamily="34" charset="0"/>
              </a:rPr>
              <a:t>1</a:t>
            </a:r>
            <a:r>
              <a:rPr lang="ru-RU" b="0" i="0" u="none" baseline="0">
                <a:latin typeface="Arial Narrow" panose="020B0606020202030204" pitchFamily="34" charset="0"/>
              </a:rPr>
              <a:t> пациентов заключается в </a:t>
            </a:r>
            <a:r>
              <a:rPr lang="ru-RU" b="1" i="0" u="none" baseline="0">
                <a:latin typeface="Arial Narrow" panose="020B0606020202030204" pitchFamily="34" charset="0"/>
              </a:rPr>
              <a:t>достижении</a:t>
            </a:r>
            <a:r>
              <a:rPr lang="ru-RU" b="0" i="0" u="none" baseline="0">
                <a:latin typeface="Arial Narrow" panose="020B0606020202030204" pitchFamily="34" charset="0"/>
              </a:rPr>
              <a:t> или </a:t>
            </a:r>
            <a:r>
              <a:rPr lang="ru-RU" b="1" i="0" u="none" baseline="0">
                <a:latin typeface="Arial Narrow" panose="020B0606020202030204" pitchFamily="34" charset="0"/>
              </a:rPr>
              <a:t>удержании</a:t>
            </a:r>
            <a:r>
              <a:rPr lang="ru-RU" b="0" i="0" u="none" baseline="0">
                <a:latin typeface="Arial Narrow" panose="020B0606020202030204" pitchFamily="34" charset="0"/>
              </a:rPr>
              <a:t> </a:t>
            </a:r>
            <a:r>
              <a:rPr lang="ru-RU" b="1" i="0" u="none" baseline="0">
                <a:latin typeface="Arial Narrow" panose="020B0606020202030204" pitchFamily="34" charset="0"/>
              </a:rPr>
              <a:t>профиля низкого риска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3D7C022-2456-4EC9-9C33-2DB2F8E0F112}"/>
              </a:ext>
            </a:extLst>
          </p:cNvPr>
          <p:cNvSpPr txBox="1"/>
          <p:nvPr/>
        </p:nvSpPr>
        <p:spPr>
          <a:xfrm>
            <a:off x="8286750" y="4223728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>
                <a:latin typeface="Arial Narrow" panose="020B0606020202030204" pitchFamily="34" charset="0"/>
              </a:rPr>
              <a:t>В случае, если </a:t>
            </a:r>
            <a:r>
              <a:rPr lang="ru-RU" b="1" i="0" u="none" baseline="0">
                <a:latin typeface="Arial Narrow" panose="020B0606020202030204" pitchFamily="34" charset="0"/>
              </a:rPr>
              <a:t>статус низкого риска не достигнут, </a:t>
            </a:r>
            <a:r>
              <a:rPr lang="ru-RU" b="0" i="0" u="none" baseline="0">
                <a:latin typeface="Arial Narrow" panose="020B0606020202030204" pitchFamily="34" charset="0"/>
              </a:rPr>
              <a:t>требуется </a:t>
            </a:r>
            <a:r>
              <a:rPr lang="ru-RU" b="1" i="0" u="none" baseline="0">
                <a:latin typeface="Arial Narrow" panose="020B0606020202030204" pitchFamily="34" charset="0"/>
              </a:rPr>
              <a:t>эскалация терапии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pic>
        <p:nvPicPr>
          <p:cNvPr id="25" name="Рисунок 1">
            <a:extLst>
              <a:ext uri="{FF2B5EF4-FFF2-40B4-BE49-F238E27FC236}">
                <a16:creationId xmlns:a16="http://schemas.microsoft.com/office/drawing/2014/main" id="{F78C24FF-EB7A-4045-B7AC-372FDBE747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993426"/>
            <a:ext cx="12192000" cy="5906269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7309EACE-23E2-488B-9FA6-1F500A4FB873}"/>
              </a:ext>
            </a:extLst>
          </p:cNvPr>
          <p:cNvSpPr txBox="1"/>
          <p:nvPr/>
        </p:nvSpPr>
        <p:spPr>
          <a:xfrm>
            <a:off x="590550" y="1055753"/>
            <a:ext cx="1101089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sz="2400" b="0" i="0" u="non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я пациента с</a:t>
            </a:r>
            <a:r>
              <a:rPr lang="ru-RU" sz="2400" b="0" i="0" u="non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АГ - достижение и удержание низкого риска 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400" b="0" i="0" u="non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ения долгосрочного прогноза заболевания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5C5B98B-D108-4F9F-8966-AD501EBE660A}"/>
              </a:ext>
            </a:extLst>
          </p:cNvPr>
          <p:cNvSpPr txBox="1"/>
          <p:nvPr/>
        </p:nvSpPr>
        <p:spPr>
          <a:xfrm>
            <a:off x="883229" y="6429069"/>
            <a:ext cx="93571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sz="1100" b="0" i="0" u="none" baseline="0" dirty="0">
                <a:latin typeface="Arial Narrow" panose="020B0606020202030204" pitchFamily="34" charset="0"/>
              </a:rPr>
              <a:t>1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Galiè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 N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Hear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6; 37:67-119; 2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KylhammarD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Hear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8; 39:4175-81; 3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BouclyA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Respi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7; 50:1700889; 4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HoeperMM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u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Respir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7; 50:1400740; 5. </a:t>
            </a:r>
            <a:r>
              <a:rPr lang="ru-RU" sz="1100" b="0" i="0" u="none" baseline="0" dirty="0" err="1">
                <a:latin typeface="Arial Narrow" panose="020B0606020202030204" pitchFamily="34" charset="0"/>
              </a:rPr>
              <a:t>Coghlan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 JG,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et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l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.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Am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J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Cardiovasc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1" u="none" baseline="0" dirty="0" err="1">
                <a:latin typeface="Arial Narrow" panose="020B0606020202030204" pitchFamily="34" charset="0"/>
              </a:rPr>
              <a:t>Drugs</a:t>
            </a:r>
            <a:r>
              <a:rPr lang="ru-RU" sz="1100" b="0" i="1" u="none" baseline="0" dirty="0">
                <a:latin typeface="Arial Narrow" panose="020B0606020202030204" pitchFamily="34" charset="0"/>
              </a:rPr>
              <a:t> </a:t>
            </a:r>
            <a:r>
              <a:rPr lang="ru-RU" sz="1100" b="0" i="0" u="none" baseline="0" dirty="0">
                <a:latin typeface="Arial Narrow" panose="020B0606020202030204" pitchFamily="34" charset="0"/>
              </a:rPr>
              <a:t>2018; 18:37-47.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394C70-E0D0-414E-B6BA-382FD7E130AA}"/>
              </a:ext>
            </a:extLst>
          </p:cNvPr>
          <p:cNvSpPr txBox="1"/>
          <p:nvPr/>
        </p:nvSpPr>
        <p:spPr>
          <a:xfrm>
            <a:off x="485774" y="3361045"/>
            <a:ext cx="1628775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1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Оценка риска</a:t>
            </a:r>
            <a:endParaRPr lang="ru-RU" sz="16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3BB50F-EE61-4B8C-9445-AD407130A142}"/>
              </a:ext>
            </a:extLst>
          </p:cNvPr>
          <p:cNvSpPr txBox="1"/>
          <p:nvPr/>
        </p:nvSpPr>
        <p:spPr>
          <a:xfrm>
            <a:off x="504826" y="5036612"/>
            <a:ext cx="1628775" cy="517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Регулярное последующее наблюдение</a:t>
            </a:r>
            <a:endParaRPr lang="ru-RU" sz="14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BFE813-E241-4480-AEEB-BBA96CA1D454}"/>
              </a:ext>
            </a:extLst>
          </p:cNvPr>
          <p:cNvSpPr txBox="1"/>
          <p:nvPr/>
        </p:nvSpPr>
        <p:spPr>
          <a:xfrm>
            <a:off x="2362200" y="2598003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 dirty="0">
                <a:latin typeface="Arial Narrow" panose="020B0606020202030204" pitchFamily="34" charset="0"/>
              </a:rPr>
              <a:t>Рекомендована </a:t>
            </a:r>
            <a:r>
              <a:rPr lang="ru-RU" b="1" i="0" u="none" baseline="0" dirty="0" err="1">
                <a:latin typeface="Arial Narrow" panose="020B0606020202030204" pitchFamily="34" charset="0"/>
              </a:rPr>
              <a:t>мультипараметрическая</a:t>
            </a:r>
            <a:r>
              <a:rPr lang="ru-RU" b="0" i="0" u="none" baseline="0" dirty="0">
                <a:latin typeface="Arial Narrow" panose="020B0606020202030204" pitchFamily="34" charset="0"/>
              </a:rPr>
              <a:t> оценка степени </a:t>
            </a:r>
            <a:r>
              <a:rPr lang="ru-RU" b="1" i="0" u="none" baseline="0" dirty="0">
                <a:latin typeface="Arial Narrow" panose="020B0606020202030204" pitchFamily="34" charset="0"/>
              </a:rPr>
              <a:t>тяжести ЛАГ</a:t>
            </a:r>
            <a:r>
              <a:rPr lang="ru-RU" b="0" i="0" u="none" baseline="0" dirty="0">
                <a:latin typeface="Arial Narrow" panose="020B0606020202030204" pitchFamily="34" charset="0"/>
              </a:rPr>
              <a:t> у пациента</a:t>
            </a:r>
            <a:r>
              <a:rPr lang="ru-RU" b="0" i="0" u="none" baseline="30000" dirty="0">
                <a:latin typeface="Arial Narrow" panose="020B0606020202030204" pitchFamily="34" charset="0"/>
              </a:rPr>
              <a:t>1,2</a:t>
            </a:r>
            <a:endParaRPr lang="ru-RU" i="1" baseline="30000" dirty="0">
              <a:latin typeface="Arial Narrow" panose="020B0606020202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FF81DE0-5299-4B17-9B04-167B4E9372BB}"/>
              </a:ext>
            </a:extLst>
          </p:cNvPr>
          <p:cNvSpPr txBox="1"/>
          <p:nvPr/>
        </p:nvSpPr>
        <p:spPr>
          <a:xfrm>
            <a:off x="2362201" y="4691333"/>
            <a:ext cx="25241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1" i="0" u="none" baseline="0" dirty="0">
                <a:latin typeface="Arial Narrow" panose="020B0606020202030204" pitchFamily="34" charset="0"/>
              </a:rPr>
              <a:t>Переоценка</a:t>
            </a:r>
            <a:r>
              <a:rPr lang="ru-RU" b="0" i="0" u="none" baseline="0" dirty="0">
                <a:latin typeface="Arial Narrow" panose="020B0606020202030204" pitchFamily="34" charset="0"/>
              </a:rPr>
              <a:t> риска пациента </a:t>
            </a:r>
            <a:r>
              <a:rPr lang="ru-RU" b="1" i="0" u="none" baseline="0" dirty="0">
                <a:latin typeface="Arial Narrow" panose="020B0606020202030204" pitchFamily="34" charset="0"/>
              </a:rPr>
              <a:t>каждые 3–6 месяцев</a:t>
            </a:r>
            <a:r>
              <a:rPr lang="ru-RU" b="1" i="0" u="none" baseline="30000" dirty="0">
                <a:latin typeface="Arial Narrow" panose="020B0606020202030204" pitchFamily="34" charset="0"/>
              </a:rPr>
              <a:t>1,2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B3D808E-F5A9-4A09-9FD4-979A2057F837}"/>
              </a:ext>
            </a:extLst>
          </p:cNvPr>
          <p:cNvSpPr txBox="1"/>
          <p:nvPr/>
        </p:nvSpPr>
        <p:spPr>
          <a:xfrm>
            <a:off x="6210489" y="3331979"/>
            <a:ext cx="1724026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1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Цель лечения</a:t>
            </a:r>
            <a:endParaRPr lang="ru-RU" sz="16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D1E5D55-CD05-4EF4-AB5B-C9C0BEC52DE1}"/>
              </a:ext>
            </a:extLst>
          </p:cNvPr>
          <p:cNvSpPr txBox="1"/>
          <p:nvPr/>
        </p:nvSpPr>
        <p:spPr>
          <a:xfrm>
            <a:off x="6235447" y="5146842"/>
            <a:ext cx="1724026" cy="19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80000"/>
              </a:lnSpc>
            </a:pPr>
            <a:r>
              <a:rPr lang="ru-RU" sz="1600" b="1" i="0" u="none" baseline="0" dirty="0">
                <a:solidFill>
                  <a:schemeClr val="bg1"/>
                </a:solidFill>
                <a:latin typeface="Arial Narrow" panose="020B0606020202030204" pitchFamily="34" charset="0"/>
              </a:rPr>
              <a:t>Ответ на лечение</a:t>
            </a:r>
            <a:endParaRPr lang="ru-RU" sz="16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DFCDCA7-3A77-4249-9E33-59D829B26E98}"/>
              </a:ext>
            </a:extLst>
          </p:cNvPr>
          <p:cNvSpPr txBox="1"/>
          <p:nvPr/>
        </p:nvSpPr>
        <p:spPr>
          <a:xfrm>
            <a:off x="8286749" y="2552051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 dirty="0">
                <a:latin typeface="Arial Narrow" panose="020B0606020202030204" pitchFamily="34" charset="0"/>
              </a:rPr>
              <a:t>Цель лечения</a:t>
            </a:r>
            <a:r>
              <a:rPr lang="ru-RU" b="0" i="0" u="none" baseline="30000" dirty="0">
                <a:latin typeface="Arial Narrow" panose="020B0606020202030204" pitchFamily="34" charset="0"/>
              </a:rPr>
              <a:t>1</a:t>
            </a:r>
            <a:r>
              <a:rPr lang="ru-RU" b="0" i="0" u="none" baseline="0" dirty="0">
                <a:latin typeface="Arial Narrow" panose="020B0606020202030204" pitchFamily="34" charset="0"/>
              </a:rPr>
              <a:t> пациентов заключается в </a:t>
            </a:r>
            <a:r>
              <a:rPr lang="ru-RU" b="1" i="0" u="none" baseline="0" dirty="0">
                <a:latin typeface="Arial Narrow" panose="020B0606020202030204" pitchFamily="34" charset="0"/>
              </a:rPr>
              <a:t>достижении</a:t>
            </a:r>
            <a:r>
              <a:rPr lang="ru-RU" b="0" i="0" u="none" baseline="0" dirty="0">
                <a:latin typeface="Arial Narrow" panose="020B0606020202030204" pitchFamily="34" charset="0"/>
              </a:rPr>
              <a:t> или </a:t>
            </a:r>
            <a:r>
              <a:rPr lang="ru-RU" b="1" i="0" u="none" baseline="0" dirty="0">
                <a:latin typeface="Arial Narrow" panose="020B0606020202030204" pitchFamily="34" charset="0"/>
              </a:rPr>
              <a:t>удержании</a:t>
            </a:r>
            <a:r>
              <a:rPr lang="ru-RU" b="0" i="0" u="none" baseline="0" dirty="0">
                <a:latin typeface="Arial Narrow" panose="020B0606020202030204" pitchFamily="34" charset="0"/>
              </a:rPr>
              <a:t> </a:t>
            </a:r>
            <a:r>
              <a:rPr lang="ru-RU" b="1" i="0" u="none" baseline="0" dirty="0">
                <a:latin typeface="Arial Narrow" panose="020B0606020202030204" pitchFamily="34" charset="0"/>
              </a:rPr>
              <a:t>профиля низкого риска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B6A290-BC7A-4915-ACBA-37BD39E8781E}"/>
              </a:ext>
            </a:extLst>
          </p:cNvPr>
          <p:cNvSpPr txBox="1"/>
          <p:nvPr/>
        </p:nvSpPr>
        <p:spPr>
          <a:xfrm>
            <a:off x="8267319" y="4438523"/>
            <a:ext cx="252412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ru-RU" b="0" i="0" u="none" baseline="0" dirty="0">
                <a:latin typeface="Arial Narrow" panose="020B0606020202030204" pitchFamily="34" charset="0"/>
              </a:rPr>
              <a:t>В случае, если </a:t>
            </a:r>
            <a:r>
              <a:rPr lang="ru-RU" b="1" i="0" u="none" baseline="0" dirty="0">
                <a:latin typeface="Arial Narrow" panose="020B0606020202030204" pitchFamily="34" charset="0"/>
              </a:rPr>
              <a:t>статус низкого риска не достигнут, </a:t>
            </a:r>
            <a:r>
              <a:rPr lang="ru-RU" b="0" i="0" u="none" baseline="0" dirty="0">
                <a:latin typeface="Arial Narrow" panose="020B0606020202030204" pitchFamily="34" charset="0"/>
              </a:rPr>
              <a:t>требуется </a:t>
            </a:r>
            <a:r>
              <a:rPr lang="ru-RU" b="1" i="0" u="none" baseline="0" dirty="0">
                <a:latin typeface="Arial Narrow" panose="020B0606020202030204" pitchFamily="34" charset="0"/>
              </a:rPr>
              <a:t>эскалация терапии</a:t>
            </a:r>
            <a:endParaRPr lang="ru-RU" b="1" i="1" baseline="30000" dirty="0">
              <a:latin typeface="Arial Narrow" panose="020B0606020202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DDE48C-F1F8-4CA7-AEAA-3DA9432A581F}"/>
              </a:ext>
            </a:extLst>
          </p:cNvPr>
          <p:cNvSpPr txBox="1"/>
          <p:nvPr/>
        </p:nvSpPr>
        <p:spPr>
          <a:xfrm>
            <a:off x="10429160" y="6227643"/>
            <a:ext cx="176284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                   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518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918BF194-A19B-417F-BCB7-0D5F3B520833}"/>
              </a:ext>
            </a:extLst>
          </p:cNvPr>
          <p:cNvSpPr txBox="1">
            <a:spLocks/>
          </p:cNvSpPr>
          <p:nvPr/>
        </p:nvSpPr>
        <p:spPr>
          <a:xfrm>
            <a:off x="241385" y="1036944"/>
            <a:ext cx="11381969" cy="62000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ts val="2667"/>
              </a:lnSpc>
              <a:spcBef>
                <a:spcPct val="0"/>
              </a:spcBef>
              <a:buNone/>
              <a:defRPr sz="1800" kern="1200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400" dirty="0">
                <a:solidFill>
                  <a:srgbClr val="002060"/>
                </a:solidFill>
                <a:latin typeface="Arial"/>
              </a:rPr>
              <a:t>Достижение низкого риска через 1 год терапии ассоциируется с благоприятным прогнозом независимо от исходного уровня риск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16A560D-A27E-4A8D-B38D-FBD9EDA3FB8F}"/>
              </a:ext>
            </a:extLst>
          </p:cNvPr>
          <p:cNvSpPr txBox="1">
            <a:spLocks/>
          </p:cNvSpPr>
          <p:nvPr/>
        </p:nvSpPr>
        <p:spPr>
          <a:xfrm>
            <a:off x="1847850" y="1186395"/>
            <a:ext cx="8498718" cy="55112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C0033"/>
              </a:buClr>
              <a:buFont typeface="Arial" panose="020B0604020202020204" pitchFamily="34" charset="0"/>
              <a:buNone/>
              <a:defRPr sz="1400" kern="1200" cap="non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CC0033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CC0033"/>
              </a:buClr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CC0033"/>
              </a:buClr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CC0033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C003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64DD544-3442-41AB-9D6D-3430D4D8A7B5}"/>
              </a:ext>
            </a:extLst>
          </p:cNvPr>
          <p:cNvSpPr txBox="1">
            <a:spLocks/>
          </p:cNvSpPr>
          <p:nvPr/>
        </p:nvSpPr>
        <p:spPr>
          <a:xfrm>
            <a:off x="6654477" y="5828988"/>
            <a:ext cx="5417545" cy="92333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 cap="non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Категория риска определялась на основании следующих переменны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К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6MWD, NT-</a:t>
            </a:r>
            <a:r>
              <a:rPr kumimoji="0" lang="en-CA" sz="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NP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ы визуализирующих методом и гемодинамика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Медианный период наблюдения – 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(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КД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–5)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сяца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H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: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Шведский регистр легочной артериальной гипертензии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900" b="0" i="0" u="none" strike="noStrike" kern="1200" cap="none" spc="0" normalizeH="0" baseline="3000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ylhammar D</a:t>
            </a:r>
            <a:r>
              <a:rPr kumimoji="0" lang="en-CA" sz="9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CA" sz="9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 Heart J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7;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лектронная публикация до выхода в печать</a:t>
            </a:r>
            <a:r>
              <a: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A40ECDD-21BF-4421-B9D9-429FEE5D8D15}"/>
              </a:ext>
            </a:extLst>
          </p:cNvPr>
          <p:cNvSpPr/>
          <p:nvPr/>
        </p:nvSpPr>
        <p:spPr>
          <a:xfrm>
            <a:off x="6856025" y="2213986"/>
            <a:ext cx="50144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Выживаемость по данным Шведского регистра</a:t>
            </a:r>
            <a:r>
              <a:rPr lang="ru-RU" b="1" kern="0" dirty="0">
                <a:solidFill>
                  <a:prstClr val="black"/>
                </a:solidFill>
              </a:rPr>
              <a:t> </a:t>
            </a:r>
            <a:r>
              <a:rPr lang="en-US" b="1" kern="0" dirty="0">
                <a:solidFill>
                  <a:prstClr val="black"/>
                </a:solidFill>
              </a:rPr>
              <a:t>SPAHR</a:t>
            </a:r>
            <a:r>
              <a:rPr kumimoji="0" lang="en-CA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2008–2016,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о категории риска</a:t>
            </a:r>
            <a:r>
              <a:rPr kumimoji="0" lang="en-CA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*</a:t>
            </a:r>
            <a:r>
              <a:rPr kumimoji="0" lang="en-CA" sz="18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BF9E091B-6D45-44DC-BF0D-1E6AD7206B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52741" y="1972909"/>
            <a:ext cx="6150264" cy="432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B27A289-A030-4D0A-8000-6246E537F20D}"/>
              </a:ext>
            </a:extLst>
          </p:cNvPr>
          <p:cNvSpPr txBox="1"/>
          <p:nvPr/>
        </p:nvSpPr>
        <p:spPr>
          <a:xfrm rot="16200000">
            <a:off x="902012" y="3721690"/>
            <a:ext cx="1358064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pitchFamily="34" charset="0"/>
              </a:rPr>
              <a:t>Выживаемость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FC3C506-A09F-4110-9A29-128E6EBF3759}"/>
              </a:ext>
            </a:extLst>
          </p:cNvPr>
          <p:cNvSpPr txBox="1"/>
          <p:nvPr/>
        </p:nvSpPr>
        <p:spPr>
          <a:xfrm>
            <a:off x="571207" y="5463722"/>
            <a:ext cx="1799295" cy="2308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r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Число в группе риск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0F49F9-231B-4306-9AB9-BBAE67E74934}"/>
              </a:ext>
            </a:extLst>
          </p:cNvPr>
          <p:cNvSpPr txBox="1"/>
          <p:nvPr/>
        </p:nvSpPr>
        <p:spPr>
          <a:xfrm>
            <a:off x="4090419" y="5463722"/>
            <a:ext cx="648879" cy="2308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Годы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D70FCD-10B4-4183-BCA8-0158CD5C80A1}"/>
              </a:ext>
            </a:extLst>
          </p:cNvPr>
          <p:cNvSpPr txBox="1"/>
          <p:nvPr/>
        </p:nvSpPr>
        <p:spPr>
          <a:xfrm>
            <a:off x="2381464" y="4323778"/>
            <a:ext cx="1653207" cy="2154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Логранговый 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P&lt;0,001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4FFA77-5FE3-430F-9DBE-9D6C89E99DDA}"/>
              </a:ext>
            </a:extLst>
          </p:cNvPr>
          <p:cNvSpPr txBox="1"/>
          <p:nvPr/>
        </p:nvSpPr>
        <p:spPr>
          <a:xfrm>
            <a:off x="2753525" y="4567000"/>
            <a:ext cx="3062813" cy="66172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Стабильно низкий риск</a:t>
            </a: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0" b="1" i="0" u="none" strike="noStrike" kern="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Улучшение до низкого риска</a:t>
            </a: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0" b="1" i="0" u="none" strike="noStrike" kern="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Стабильно средний риск или высокий риск</a:t>
            </a: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0" b="1" i="0" u="none" strike="noStrike" kern="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0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Ухудшение до среднего риска или до высокого риска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66365AA-93FC-465E-86DE-4C37A2F62D47}"/>
              </a:ext>
            </a:extLst>
          </p:cNvPr>
          <p:cNvSpPr/>
          <p:nvPr/>
        </p:nvSpPr>
        <p:spPr>
          <a:xfrm>
            <a:off x="7302210" y="3270814"/>
            <a:ext cx="381199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У пациентов из регистра SPAHR, у которых было достигнуто улучшение до низкого уровня риска смерти (или сохранялся стабильно низкий уровень риска смерти), было отмечено </a:t>
            </a:r>
            <a:r>
              <a:rPr lang="ru-RU" sz="1600" b="1" dirty="0"/>
              <a:t>улучшение выживаемости</a:t>
            </a:r>
            <a:r>
              <a:rPr lang="ru-RU" sz="1600" dirty="0"/>
              <a:t>.*†1</a:t>
            </a:r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FA8F3593-41E4-4213-B072-575D752D7BB7}"/>
              </a:ext>
            </a:extLst>
          </p:cNvPr>
          <p:cNvSpPr/>
          <p:nvPr/>
        </p:nvSpPr>
        <p:spPr>
          <a:xfrm>
            <a:off x="7117647" y="3170318"/>
            <a:ext cx="3893654" cy="1777067"/>
          </a:xfrm>
          <a:prstGeom prst="wedgeRectCallou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5527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C0033"/>
      </a:accent1>
      <a:accent2>
        <a:srgbClr val="5160AB"/>
      </a:accent2>
      <a:accent3>
        <a:srgbClr val="00B9CD"/>
      </a:accent3>
      <a:accent4>
        <a:srgbClr val="7E84C5"/>
      </a:accent4>
      <a:accent5>
        <a:srgbClr val="4472C4"/>
      </a:accent5>
      <a:accent6>
        <a:srgbClr val="00B050"/>
      </a:accent6>
      <a:hlink>
        <a:srgbClr val="FF0000"/>
      </a:hlink>
      <a:folHlink>
        <a:srgbClr val="FFC0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FFFF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82</TotalTime>
  <Words>3116</Words>
  <Application>Microsoft Office PowerPoint</Application>
  <PresentationFormat>Widescreen</PresentationFormat>
  <Paragraphs>49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3" baseType="lpstr">
      <vt:lpstr>Arial</vt:lpstr>
      <vt:lpstr>Arial Narrow</vt:lpstr>
      <vt:lpstr>Calibri</vt:lpstr>
      <vt:lpstr>Calibri Light</vt:lpstr>
      <vt:lpstr>Cambria</vt:lpstr>
      <vt:lpstr>Museo Sans Cyrl 100</vt:lpstr>
      <vt:lpstr>Noto Sans Symbols</vt:lpstr>
      <vt:lpstr>Symbol</vt:lpstr>
      <vt:lpstr>Tahoma</vt:lpstr>
      <vt:lpstr>Times New Roman</vt:lpstr>
      <vt:lpstr>Verdana</vt:lpstr>
      <vt:lpstr>Wingdings</vt:lpstr>
      <vt:lpstr>ACTELION</vt:lpstr>
      <vt:lpstr>2_BL5719_CF</vt:lpstr>
      <vt:lpstr>1_Office Theme</vt:lpstr>
      <vt:lpstr>1_ACTELION</vt:lpstr>
      <vt:lpstr>2_ACTELION</vt:lpstr>
      <vt:lpstr>3_ACTELION</vt:lpstr>
      <vt:lpstr>4_ACTELIO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33</cp:revision>
  <dcterms:created xsi:type="dcterms:W3CDTF">2020-04-22T15:20:30Z</dcterms:created>
  <dcterms:modified xsi:type="dcterms:W3CDTF">2021-08-10T05:06:27Z</dcterms:modified>
</cp:coreProperties>
</file>